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Default Extension="wdp" ContentType="image/vnd.ms-photo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revisionInfo.xml" ContentType="application/vnd.ms-powerpoint.revisioninfo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415" r:id="rId2"/>
    <p:sldId id="452" r:id="rId3"/>
    <p:sldId id="479" r:id="rId4"/>
    <p:sldId id="450" r:id="rId5"/>
    <p:sldId id="448" r:id="rId6"/>
    <p:sldId id="449" r:id="rId7"/>
    <p:sldId id="495" r:id="rId8"/>
    <p:sldId id="496" r:id="rId9"/>
    <p:sldId id="494" r:id="rId10"/>
    <p:sldId id="447" r:id="rId11"/>
    <p:sldId id="445" r:id="rId12"/>
  </p:sldIdLst>
  <p:sldSz cx="9144000" cy="5143500" type="screen16x9"/>
  <p:notesSz cx="7010400" cy="9296400"/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33"/>
    <a:srgbClr val="1C1C1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000" autoAdjust="0"/>
    <p:restoredTop sz="83692" autoAdjust="0"/>
  </p:normalViewPr>
  <p:slideViewPr>
    <p:cSldViewPr snapToGrid="0">
      <p:cViewPr>
        <p:scale>
          <a:sx n="70" d="100"/>
          <a:sy n="70" d="100"/>
        </p:scale>
        <p:origin x="-1410" y="-27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5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BA4F88-EB2F-4256-8742-4B409662D235}" type="doc">
      <dgm:prSet loTypeId="urn:microsoft.com/office/officeart/2005/8/layout/hList3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253EC890-2ADC-41E8-A33E-F3E312120119}">
      <dgm:prSet phldrT="[Text]" custT="1"/>
      <dgm:spPr/>
      <dgm:t>
        <a:bodyPr/>
        <a:lstStyle/>
        <a:p>
          <a:r>
            <a:rPr lang="en-US" altLang="ko-KR" sz="3600" b="1" dirty="0" smtClean="0">
              <a:cs typeface="Arial" pitchFamily="34" charset="0"/>
            </a:rPr>
            <a:t>Key Activities: Housing Division</a:t>
          </a:r>
          <a:endParaRPr lang="en-US" sz="3600" dirty="0"/>
        </a:p>
      </dgm:t>
    </dgm:pt>
    <dgm:pt modelId="{1C160152-FD03-4015-9DEC-071BEFE45F36}" type="parTrans" cxnId="{250A61BF-557E-4A32-8191-F98839F65776}">
      <dgm:prSet/>
      <dgm:spPr/>
      <dgm:t>
        <a:bodyPr/>
        <a:lstStyle/>
        <a:p>
          <a:endParaRPr lang="en-US"/>
        </a:p>
      </dgm:t>
    </dgm:pt>
    <dgm:pt modelId="{A767BAFA-4D50-4CE2-98E2-4D340BF982B7}" type="sibTrans" cxnId="{250A61BF-557E-4A32-8191-F98839F65776}">
      <dgm:prSet/>
      <dgm:spPr/>
      <dgm:t>
        <a:bodyPr/>
        <a:lstStyle/>
        <a:p>
          <a:endParaRPr lang="en-US"/>
        </a:p>
      </dgm:t>
    </dgm:pt>
    <dgm:pt modelId="{61CAB66A-EDFC-40BF-81C7-E85E63AF29A7}">
      <dgm:prSet phldrT="[Text]" custT="1"/>
      <dgm:spPr/>
      <dgm:t>
        <a:bodyPr/>
        <a:lstStyle/>
        <a:p>
          <a:r>
            <a:rPr lang="en-US" altLang="en-US" sz="2400" b="1" dirty="0" smtClean="0">
              <a:solidFill>
                <a:schemeClr val="accent2"/>
              </a:solidFill>
              <a:latin typeface="Univers Condensed" panose="020B0606020202060204" pitchFamily="34" charset="0"/>
            </a:rPr>
            <a:t>Legislations-</a:t>
          </a:r>
          <a:r>
            <a:rPr lang="en-US" altLang="en-US" sz="2400" dirty="0" smtClean="0">
              <a:solidFill>
                <a:schemeClr val="accent2"/>
              </a:solidFill>
            </a:rPr>
            <a:t> </a:t>
          </a:r>
        </a:p>
        <a:p>
          <a:r>
            <a:rPr lang="en-US" altLang="en-US" sz="2000" dirty="0" smtClean="0"/>
            <a:t>* Real Estate (Regulation &amp; Development) Act, [RERA]</a:t>
          </a:r>
        </a:p>
        <a:p>
          <a:r>
            <a:rPr lang="en-US" altLang="en-US" sz="2000" dirty="0" smtClean="0"/>
            <a:t>* Model Tenancy Act [MTA]</a:t>
          </a:r>
          <a:endParaRPr lang="en-US" sz="2000" dirty="0"/>
        </a:p>
      </dgm:t>
    </dgm:pt>
    <dgm:pt modelId="{E2996521-EC56-4DA6-8633-5A6EE5BF49D0}" type="parTrans" cxnId="{89FD97FF-339F-4873-8592-E920B48A1A91}">
      <dgm:prSet/>
      <dgm:spPr/>
      <dgm:t>
        <a:bodyPr/>
        <a:lstStyle/>
        <a:p>
          <a:endParaRPr lang="en-US"/>
        </a:p>
      </dgm:t>
    </dgm:pt>
    <dgm:pt modelId="{1C843D64-EA2E-4B4D-8938-2F11AE380FA0}" type="sibTrans" cxnId="{89FD97FF-339F-4873-8592-E920B48A1A91}">
      <dgm:prSet/>
      <dgm:spPr/>
      <dgm:t>
        <a:bodyPr/>
        <a:lstStyle/>
        <a:p>
          <a:endParaRPr lang="en-US"/>
        </a:p>
      </dgm:t>
    </dgm:pt>
    <dgm:pt modelId="{17998DAC-BB33-4800-9B76-5F684C06C5D1}">
      <dgm:prSet phldrT="[Text]" custT="1"/>
      <dgm:spPr/>
      <dgm:t>
        <a:bodyPr/>
        <a:lstStyle/>
        <a:p>
          <a:r>
            <a:rPr lang="en-US" altLang="en-US" sz="2400" b="1" dirty="0" smtClean="0">
              <a:solidFill>
                <a:schemeClr val="accent2"/>
              </a:solidFill>
              <a:latin typeface="Univers Condensed" panose="020B0606020202060204" pitchFamily="34" charset="0"/>
            </a:rPr>
            <a:t>Administration of Public Sector Undertakings-</a:t>
          </a:r>
        </a:p>
        <a:p>
          <a:r>
            <a:rPr lang="en-US" altLang="en-US" sz="2000" b="1" dirty="0" smtClean="0">
              <a:latin typeface="Univers Condensed" panose="020B0606020202060204" pitchFamily="34" charset="0"/>
            </a:rPr>
            <a:t> </a:t>
          </a:r>
          <a:r>
            <a:rPr lang="en-US" altLang="en-US" sz="2000" dirty="0" smtClean="0"/>
            <a:t>Housing and Urban Development Corporation (HUDCO)</a:t>
          </a:r>
          <a:endParaRPr lang="en-US" sz="2000" dirty="0"/>
        </a:p>
      </dgm:t>
    </dgm:pt>
    <dgm:pt modelId="{54F90AD0-667E-4CBB-9774-6709DDD52B45}" type="parTrans" cxnId="{6ABB7411-6736-4C2D-87F1-45673DEE2A18}">
      <dgm:prSet/>
      <dgm:spPr/>
      <dgm:t>
        <a:bodyPr/>
        <a:lstStyle/>
        <a:p>
          <a:endParaRPr lang="en-US"/>
        </a:p>
      </dgm:t>
    </dgm:pt>
    <dgm:pt modelId="{6769DB62-9550-4543-A2D6-2DE2AF8048AE}" type="sibTrans" cxnId="{6ABB7411-6736-4C2D-87F1-45673DEE2A18}">
      <dgm:prSet/>
      <dgm:spPr/>
      <dgm:t>
        <a:bodyPr/>
        <a:lstStyle/>
        <a:p>
          <a:endParaRPr lang="en-US"/>
        </a:p>
      </dgm:t>
    </dgm:pt>
    <dgm:pt modelId="{1BBBB63F-E350-43D4-9A1E-8D75781180F3}">
      <dgm:prSet phldrT="[Text]" custT="1"/>
      <dgm:spPr/>
      <dgm:t>
        <a:bodyPr/>
        <a:lstStyle/>
        <a:p>
          <a:r>
            <a:rPr lang="en-US" altLang="en-US" sz="2400" b="1" dirty="0" smtClean="0">
              <a:solidFill>
                <a:schemeClr val="accent2"/>
              </a:solidFill>
              <a:latin typeface="Univers Condensed" panose="020B0606020202060204" pitchFamily="34" charset="0"/>
            </a:rPr>
            <a:t>Administration of Autonomous bodies:</a:t>
          </a:r>
        </a:p>
        <a:p>
          <a:r>
            <a:rPr lang="en-US" altLang="en-US" sz="1900" b="1" dirty="0" smtClean="0">
              <a:latin typeface="Univers Condensed" panose="020B0606020202060204" pitchFamily="34" charset="0"/>
            </a:rPr>
            <a:t> </a:t>
          </a:r>
          <a:r>
            <a:rPr lang="en-US" altLang="en-US" sz="1900" dirty="0" smtClean="0"/>
            <a:t>Hindustan Prefab Limited (HPL), </a:t>
          </a:r>
        </a:p>
        <a:p>
          <a:r>
            <a:rPr lang="en-US" altLang="en-US" sz="1900" dirty="0" smtClean="0"/>
            <a:t>Central Government Employees Welfare Housing Organization (CGEWHO), </a:t>
          </a:r>
        </a:p>
        <a:p>
          <a:r>
            <a:rPr lang="en-US" altLang="en-US" sz="1900" dirty="0" smtClean="0">
              <a:solidFill>
                <a:schemeClr val="accent2">
                  <a:lumMod val="75000"/>
                </a:schemeClr>
              </a:solidFill>
            </a:rPr>
            <a:t>National Cooperative Housing Federation of India (NCHF)</a:t>
          </a:r>
          <a:endParaRPr lang="en-US" sz="1900" dirty="0">
            <a:solidFill>
              <a:schemeClr val="accent2">
                <a:lumMod val="75000"/>
              </a:schemeClr>
            </a:solidFill>
          </a:endParaRPr>
        </a:p>
      </dgm:t>
    </dgm:pt>
    <dgm:pt modelId="{C8935E0E-B6A3-431B-A413-86D3D713A31F}" type="parTrans" cxnId="{A4B75E99-F11B-4333-AB0E-30CBB3BEF0F4}">
      <dgm:prSet/>
      <dgm:spPr/>
      <dgm:t>
        <a:bodyPr/>
        <a:lstStyle/>
        <a:p>
          <a:endParaRPr lang="en-US"/>
        </a:p>
      </dgm:t>
    </dgm:pt>
    <dgm:pt modelId="{E42E3924-0F4E-4C9C-A8FA-F507EB44004E}" type="sibTrans" cxnId="{A4B75E99-F11B-4333-AB0E-30CBB3BEF0F4}">
      <dgm:prSet/>
      <dgm:spPr/>
      <dgm:t>
        <a:bodyPr/>
        <a:lstStyle/>
        <a:p>
          <a:endParaRPr lang="en-US"/>
        </a:p>
      </dgm:t>
    </dgm:pt>
    <dgm:pt modelId="{5F74A81A-F5B9-42AB-9C4B-816495091150}">
      <dgm:prSet custT="1"/>
      <dgm:spPr/>
      <dgm:t>
        <a:bodyPr/>
        <a:lstStyle/>
        <a:p>
          <a:r>
            <a:rPr lang="en-US" altLang="en-US" sz="2400" b="1" dirty="0" smtClean="0">
              <a:solidFill>
                <a:schemeClr val="accent2"/>
              </a:solidFill>
              <a:latin typeface="Univers Condensed" panose="020B0606020202060204" pitchFamily="34" charset="0"/>
            </a:rPr>
            <a:t>International Relations- </a:t>
          </a:r>
        </a:p>
        <a:p>
          <a:r>
            <a:rPr lang="en-IN" altLang="en-US" sz="1800" dirty="0" smtClean="0"/>
            <a:t>UN HABITAT, </a:t>
          </a:r>
        </a:p>
        <a:p>
          <a:r>
            <a:rPr lang="en-IN" altLang="en-US" sz="1800" dirty="0" smtClean="0"/>
            <a:t>Asia Pacific Ministerial Conference on Housing and Urban Development (APMCHUD)</a:t>
          </a:r>
          <a:endParaRPr lang="en-US" sz="1800" dirty="0"/>
        </a:p>
      </dgm:t>
    </dgm:pt>
    <dgm:pt modelId="{A0CB3CE4-0E3A-4ED7-8B6A-46B9BE25E71B}" type="parTrans" cxnId="{170B4595-A870-48DC-93CE-7C62C221BBF5}">
      <dgm:prSet/>
      <dgm:spPr/>
      <dgm:t>
        <a:bodyPr/>
        <a:lstStyle/>
        <a:p>
          <a:endParaRPr lang="en-US"/>
        </a:p>
      </dgm:t>
    </dgm:pt>
    <dgm:pt modelId="{31BC7FAE-D65E-430A-A79C-5731A8B47968}" type="sibTrans" cxnId="{170B4595-A870-48DC-93CE-7C62C221BBF5}">
      <dgm:prSet/>
      <dgm:spPr/>
      <dgm:t>
        <a:bodyPr/>
        <a:lstStyle/>
        <a:p>
          <a:endParaRPr lang="en-US"/>
        </a:p>
      </dgm:t>
    </dgm:pt>
    <dgm:pt modelId="{20DED928-4695-44B9-9AF6-737C983184BF}" type="pres">
      <dgm:prSet presAssocID="{6ABA4F88-EB2F-4256-8742-4B409662D235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08EDF72-8825-467D-8A7B-D15957B435BE}" type="pres">
      <dgm:prSet presAssocID="{253EC890-2ADC-41E8-A33E-F3E312120119}" presName="roof" presStyleLbl="dkBgShp" presStyleIdx="0" presStyleCnt="2" custScaleY="36263"/>
      <dgm:spPr/>
      <dgm:t>
        <a:bodyPr/>
        <a:lstStyle/>
        <a:p>
          <a:endParaRPr lang="en-US"/>
        </a:p>
      </dgm:t>
    </dgm:pt>
    <dgm:pt modelId="{1D39B58F-04B4-483F-BB9F-E081E728EB64}" type="pres">
      <dgm:prSet presAssocID="{253EC890-2ADC-41E8-A33E-F3E312120119}" presName="pillars" presStyleCnt="0"/>
      <dgm:spPr/>
    </dgm:pt>
    <dgm:pt modelId="{A571A0A9-DEE0-4373-8F37-2CFFEA79DB83}" type="pres">
      <dgm:prSet presAssocID="{253EC890-2ADC-41E8-A33E-F3E312120119}" presName="pillar1" presStyleLbl="node1" presStyleIdx="0" presStyleCnt="4" custScaleY="1185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80C859-8272-4FB8-956A-974F0736CACF}" type="pres">
      <dgm:prSet presAssocID="{17998DAC-BB33-4800-9B76-5F684C06C5D1}" presName="pillarX" presStyleLbl="node1" presStyleIdx="1" presStyleCnt="4" custScaleX="124161" custScaleY="1177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C0E282-50B8-46F4-AA66-81E651A3655A}" type="pres">
      <dgm:prSet presAssocID="{1BBBB63F-E350-43D4-9A1E-8D75781180F3}" presName="pillarX" presStyleLbl="node1" presStyleIdx="2" presStyleCnt="4" custScaleX="170888" custScaleY="1177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3891A9-13E7-4C24-BE65-7819C23F528D}" type="pres">
      <dgm:prSet presAssocID="{5F74A81A-F5B9-42AB-9C4B-816495091150}" presName="pillarX" presStyleLbl="node1" presStyleIdx="3" presStyleCnt="4" custScaleX="131720" custScaleY="1177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1F4705-E0D5-4199-8ACB-F9A88CBEFEC6}" type="pres">
      <dgm:prSet presAssocID="{253EC890-2ADC-41E8-A33E-F3E312120119}" presName="base" presStyleLbl="dkBgShp" presStyleIdx="1" presStyleCnt="2"/>
      <dgm:spPr/>
    </dgm:pt>
  </dgm:ptLst>
  <dgm:cxnLst>
    <dgm:cxn modelId="{A4B75E99-F11B-4333-AB0E-30CBB3BEF0F4}" srcId="{253EC890-2ADC-41E8-A33E-F3E312120119}" destId="{1BBBB63F-E350-43D4-9A1E-8D75781180F3}" srcOrd="2" destOrd="0" parTransId="{C8935E0E-B6A3-431B-A413-86D3D713A31F}" sibTransId="{E42E3924-0F4E-4C9C-A8FA-F507EB44004E}"/>
    <dgm:cxn modelId="{7211B183-81CF-4C1F-8088-E0041433605A}" type="presOf" srcId="{1BBBB63F-E350-43D4-9A1E-8D75781180F3}" destId="{F9C0E282-50B8-46F4-AA66-81E651A3655A}" srcOrd="0" destOrd="0" presId="urn:microsoft.com/office/officeart/2005/8/layout/hList3"/>
    <dgm:cxn modelId="{E6B6E99A-542F-44F7-9122-AE1273414C3A}" type="presOf" srcId="{253EC890-2ADC-41E8-A33E-F3E312120119}" destId="{708EDF72-8825-467D-8A7B-D15957B435BE}" srcOrd="0" destOrd="0" presId="urn:microsoft.com/office/officeart/2005/8/layout/hList3"/>
    <dgm:cxn modelId="{250A61BF-557E-4A32-8191-F98839F65776}" srcId="{6ABA4F88-EB2F-4256-8742-4B409662D235}" destId="{253EC890-2ADC-41E8-A33E-F3E312120119}" srcOrd="0" destOrd="0" parTransId="{1C160152-FD03-4015-9DEC-071BEFE45F36}" sibTransId="{A767BAFA-4D50-4CE2-98E2-4D340BF982B7}"/>
    <dgm:cxn modelId="{2D3775E2-A8FF-461D-9832-A01CF790B99F}" type="presOf" srcId="{17998DAC-BB33-4800-9B76-5F684C06C5D1}" destId="{D780C859-8272-4FB8-956A-974F0736CACF}" srcOrd="0" destOrd="0" presId="urn:microsoft.com/office/officeart/2005/8/layout/hList3"/>
    <dgm:cxn modelId="{6ABB7411-6736-4C2D-87F1-45673DEE2A18}" srcId="{253EC890-2ADC-41E8-A33E-F3E312120119}" destId="{17998DAC-BB33-4800-9B76-5F684C06C5D1}" srcOrd="1" destOrd="0" parTransId="{54F90AD0-667E-4CBB-9774-6709DDD52B45}" sibTransId="{6769DB62-9550-4543-A2D6-2DE2AF8048AE}"/>
    <dgm:cxn modelId="{05D7E7C1-1FF6-4991-B35F-8682AEED8004}" type="presOf" srcId="{5F74A81A-F5B9-42AB-9C4B-816495091150}" destId="{573891A9-13E7-4C24-BE65-7819C23F528D}" srcOrd="0" destOrd="0" presId="urn:microsoft.com/office/officeart/2005/8/layout/hList3"/>
    <dgm:cxn modelId="{89FD97FF-339F-4873-8592-E920B48A1A91}" srcId="{253EC890-2ADC-41E8-A33E-F3E312120119}" destId="{61CAB66A-EDFC-40BF-81C7-E85E63AF29A7}" srcOrd="0" destOrd="0" parTransId="{E2996521-EC56-4DA6-8633-5A6EE5BF49D0}" sibTransId="{1C843D64-EA2E-4B4D-8938-2F11AE380FA0}"/>
    <dgm:cxn modelId="{FC6C04D2-2B79-4861-B80B-321BA90E7F69}" type="presOf" srcId="{6ABA4F88-EB2F-4256-8742-4B409662D235}" destId="{20DED928-4695-44B9-9AF6-737C983184BF}" srcOrd="0" destOrd="0" presId="urn:microsoft.com/office/officeart/2005/8/layout/hList3"/>
    <dgm:cxn modelId="{170B4595-A870-48DC-93CE-7C62C221BBF5}" srcId="{253EC890-2ADC-41E8-A33E-F3E312120119}" destId="{5F74A81A-F5B9-42AB-9C4B-816495091150}" srcOrd="3" destOrd="0" parTransId="{A0CB3CE4-0E3A-4ED7-8B6A-46B9BE25E71B}" sibTransId="{31BC7FAE-D65E-430A-A79C-5731A8B47968}"/>
    <dgm:cxn modelId="{C0FBAD99-C54C-4CDC-B5A2-AD4D76084714}" type="presOf" srcId="{61CAB66A-EDFC-40BF-81C7-E85E63AF29A7}" destId="{A571A0A9-DEE0-4373-8F37-2CFFEA79DB83}" srcOrd="0" destOrd="0" presId="urn:microsoft.com/office/officeart/2005/8/layout/hList3"/>
    <dgm:cxn modelId="{0E2D9E35-5528-435D-8B7B-DDA7B4E20630}" type="presParOf" srcId="{20DED928-4695-44B9-9AF6-737C983184BF}" destId="{708EDF72-8825-467D-8A7B-D15957B435BE}" srcOrd="0" destOrd="0" presId="urn:microsoft.com/office/officeart/2005/8/layout/hList3"/>
    <dgm:cxn modelId="{B87BA2FC-F622-4D36-B74E-F2E092D74E68}" type="presParOf" srcId="{20DED928-4695-44B9-9AF6-737C983184BF}" destId="{1D39B58F-04B4-483F-BB9F-E081E728EB64}" srcOrd="1" destOrd="0" presId="urn:microsoft.com/office/officeart/2005/8/layout/hList3"/>
    <dgm:cxn modelId="{142492A9-7D7F-42F2-BC2B-31EC8FAC1C78}" type="presParOf" srcId="{1D39B58F-04B4-483F-BB9F-E081E728EB64}" destId="{A571A0A9-DEE0-4373-8F37-2CFFEA79DB83}" srcOrd="0" destOrd="0" presId="urn:microsoft.com/office/officeart/2005/8/layout/hList3"/>
    <dgm:cxn modelId="{48BCAC37-726F-48CA-825E-61D37D459AD8}" type="presParOf" srcId="{1D39B58F-04B4-483F-BB9F-E081E728EB64}" destId="{D780C859-8272-4FB8-956A-974F0736CACF}" srcOrd="1" destOrd="0" presId="urn:microsoft.com/office/officeart/2005/8/layout/hList3"/>
    <dgm:cxn modelId="{E2241320-04C1-43FA-823E-247D99AF376B}" type="presParOf" srcId="{1D39B58F-04B4-483F-BB9F-E081E728EB64}" destId="{F9C0E282-50B8-46F4-AA66-81E651A3655A}" srcOrd="2" destOrd="0" presId="urn:microsoft.com/office/officeart/2005/8/layout/hList3"/>
    <dgm:cxn modelId="{669359A7-19E2-41FF-B0BA-06C47E39FFB8}" type="presParOf" srcId="{1D39B58F-04B4-483F-BB9F-E081E728EB64}" destId="{573891A9-13E7-4C24-BE65-7819C23F528D}" srcOrd="3" destOrd="0" presId="urn:microsoft.com/office/officeart/2005/8/layout/hList3"/>
    <dgm:cxn modelId="{228CD2BC-6D82-4A38-B82E-C07E660588BB}" type="presParOf" srcId="{20DED928-4695-44B9-9AF6-737C983184BF}" destId="{221F4705-E0D5-4199-8ACB-F9A88CBEFEC6}" srcOrd="2" destOrd="0" presId="urn:microsoft.com/office/officeart/2005/8/layout/hList3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vList5" loCatId="list" qsTypeId="urn:microsoft.com/office/officeart/2005/8/quickstyle/simple4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F66099B6-DBBD-4AB0-82D2-877B80F846F7}">
      <dgm:prSet phldrT="[Text]" custT="1"/>
      <dgm:spPr>
        <a:xfrm>
          <a:off x="0" y="646889"/>
          <a:ext cx="2194560" cy="614746"/>
        </a:xfrm>
        <a:gradFill rotWithShape="0">
          <a:gsLst>
            <a:gs pos="0">
              <a:srgbClr val="9BBB59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9BBB59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9BBB59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r>
            <a:rPr lang="en-US" sz="20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frastructure </a:t>
          </a:r>
          <a:br>
            <a:rPr lang="en-US" sz="20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20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tatus</a:t>
          </a:r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 sz="2000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 sz="2000"/>
        </a:p>
      </dgm:t>
    </dgm:pt>
    <dgm:pt modelId="{EE62A4F6-4AC4-435B-990E-81A71CE8CAC7}">
      <dgm:prSet phldrT="[Text]" custT="1"/>
      <dgm:spPr>
        <a:xfrm>
          <a:off x="0" y="1292373"/>
          <a:ext cx="2194560" cy="614746"/>
        </a:xfrm>
        <a:gradFill rotWithShape="0">
          <a:gsLst>
            <a:gs pos="0">
              <a:srgbClr val="F39C1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39C1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39C1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pPr algn="ctr"/>
          <a:r>
            <a:rPr lang="en-US" sz="2000" b="1" dirty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NUHF</a:t>
          </a:r>
          <a:endParaRPr lang="en-US" sz="1800" b="1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F287B947-7343-4FA2-B288-B23A59FFAE31}" type="parTrans" cxnId="{3A2CECA6-0C5B-46BB-B7C6-7D37E9D210BD}">
      <dgm:prSet/>
      <dgm:spPr/>
      <dgm:t>
        <a:bodyPr/>
        <a:lstStyle/>
        <a:p>
          <a:endParaRPr lang="en-US" sz="2000"/>
        </a:p>
      </dgm:t>
    </dgm:pt>
    <dgm:pt modelId="{389F9A93-0231-4877-8C41-5D5B8DD7AAC0}" type="sibTrans" cxnId="{3A2CECA6-0C5B-46BB-B7C6-7D37E9D210BD}">
      <dgm:prSet/>
      <dgm:spPr/>
      <dgm:t>
        <a:bodyPr/>
        <a:lstStyle/>
        <a:p>
          <a:endParaRPr lang="en-US" sz="2000"/>
        </a:p>
      </dgm:t>
    </dgm:pt>
    <dgm:pt modelId="{B6D9DE15-697B-42C2-B6A1-CE31260EED93}">
      <dgm:prSet phldrT="[Text]" custT="1"/>
      <dgm:spPr>
        <a:xfrm>
          <a:off x="0" y="1937856"/>
          <a:ext cx="2194560" cy="614746"/>
        </a:xfrm>
        <a:gradFill rotWithShape="0">
          <a:gsLst>
            <a:gs pos="0">
              <a:srgbClr val="C0392B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C0392B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C0392B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pPr algn="ctr"/>
          <a:r>
            <a:rPr lang="en-GB" sz="1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Reduction of GST </a:t>
          </a:r>
          <a:endParaRPr lang="en-US" sz="1800" b="1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EAC9FC21-5112-4CCF-8070-06ED15ED24ED}" type="parTrans" cxnId="{40513FB0-F94C-499F-9A0B-9E0341D0A0C2}">
      <dgm:prSet/>
      <dgm:spPr/>
      <dgm:t>
        <a:bodyPr/>
        <a:lstStyle/>
        <a:p>
          <a:endParaRPr lang="en-US" sz="2000"/>
        </a:p>
      </dgm:t>
    </dgm:pt>
    <dgm:pt modelId="{B605B681-1ACB-4650-8600-F9223ABDDC16}" type="sibTrans" cxnId="{40513FB0-F94C-499F-9A0B-9E0341D0A0C2}">
      <dgm:prSet/>
      <dgm:spPr/>
      <dgm:t>
        <a:bodyPr/>
        <a:lstStyle/>
        <a:p>
          <a:endParaRPr lang="en-US" sz="2000"/>
        </a:p>
      </dgm:t>
    </dgm:pt>
    <dgm:pt modelId="{244CE93D-3CE9-480A-BC40-D5795AE4CC61}">
      <dgm:prSet phldrT="[Text]" custT="1"/>
      <dgm:spPr>
        <a:xfrm>
          <a:off x="0" y="2583340"/>
          <a:ext cx="2194560" cy="614746"/>
        </a:xfrm>
        <a:gradFill rotWithShape="0">
          <a:gsLst>
            <a:gs pos="0">
              <a:srgbClr val="2C3F50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2C3F50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2C3F50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gm:spPr>
      <dgm:t>
        <a:bodyPr/>
        <a:lstStyle/>
        <a:p>
          <a:pPr algn="ctr"/>
          <a:r>
            <a:rPr lang="en-IN" sz="2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AHF</a:t>
          </a:r>
          <a:endParaRPr lang="en-US" sz="1800" b="1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B26CFE49-55EC-4B92-8D65-F00D6B48420B}" type="parTrans" cxnId="{746C65D4-0A32-4610-8B9B-A01592BB40A3}">
      <dgm:prSet/>
      <dgm:spPr/>
      <dgm:t>
        <a:bodyPr/>
        <a:lstStyle/>
        <a:p>
          <a:endParaRPr lang="en-US" sz="2000"/>
        </a:p>
      </dgm:t>
    </dgm:pt>
    <dgm:pt modelId="{AA2C577D-A278-4959-857E-CDA154440386}" type="sibTrans" cxnId="{746C65D4-0A32-4610-8B9B-A01592BB40A3}">
      <dgm:prSet/>
      <dgm:spPr/>
      <dgm:t>
        <a:bodyPr/>
        <a:lstStyle/>
        <a:p>
          <a:endParaRPr lang="en-US" sz="2000"/>
        </a:p>
      </dgm:t>
    </dgm:pt>
    <dgm:pt modelId="{6CF284C3-4A70-4432-8F33-E75A802B3330}">
      <dgm:prSet custT="1"/>
      <dgm:spPr>
        <a:xfrm rot="5400000">
          <a:off x="3899381" y="-996457"/>
          <a:ext cx="491797" cy="3901440"/>
        </a:xfrm>
        <a:solidFill>
          <a:srgbClr val="9BBB59">
            <a:tint val="40000"/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9BBB59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IN" sz="1200" b="1" dirty="0">
              <a:latin typeface="Segoe UI" panose="020B0502040204020203" pitchFamily="34" charset="0"/>
              <a:cs typeface="Segoe UI" panose="020B0502040204020203" pitchFamily="34" charset="0"/>
            </a:rPr>
            <a:t>Infrastructure Status to Affordable Housing</a:t>
          </a:r>
          <a:endParaRPr lang="en-US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044831E6-2FC9-4DDA-81FB-5FA418568D07}" type="parTrans" cxnId="{2DC24386-BC50-4BAB-8571-16CB10C2603C}">
      <dgm:prSet/>
      <dgm:spPr/>
      <dgm:t>
        <a:bodyPr/>
        <a:lstStyle/>
        <a:p>
          <a:endParaRPr lang="en-US" sz="2000"/>
        </a:p>
      </dgm:t>
    </dgm:pt>
    <dgm:pt modelId="{CD50B82D-84BB-4747-B282-ABB339EBA294}" type="sibTrans" cxnId="{2DC24386-BC50-4BAB-8571-16CB10C2603C}">
      <dgm:prSet/>
      <dgm:spPr/>
      <dgm:t>
        <a:bodyPr/>
        <a:lstStyle/>
        <a:p>
          <a:endParaRPr lang="en-US" sz="2000"/>
        </a:p>
      </dgm:t>
    </dgm:pt>
    <dgm:pt modelId="{DDCF078C-D429-4F3D-A86A-601C37333F0E}">
      <dgm:prSet phldrT="[Text]" custT="1"/>
      <dgm:spPr>
        <a:xfrm rot="5400000">
          <a:off x="3899381" y="-350973"/>
          <a:ext cx="491797" cy="3901440"/>
        </a:xfrm>
        <a:solidFill>
          <a:srgbClr val="F39C12">
            <a:tint val="40000"/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F39C12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IN" sz="1200" b="1" dirty="0">
              <a:latin typeface="Segoe UI" panose="020B0502040204020203" pitchFamily="34" charset="0"/>
              <a:cs typeface="Segoe UI" panose="020B0502040204020203" pitchFamily="34" charset="0"/>
            </a:rPr>
            <a:t>National Urban Housing Fund (NUHF) - EBR of Rs. 60,000 for funding PMAY(U) projects</a:t>
          </a:r>
          <a:endParaRPr lang="en-US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1882E0FC-22B0-4EC0-AFEA-6913C3E42D04}" type="parTrans" cxnId="{8ED196F6-6553-443C-AAB2-40F72E795577}">
      <dgm:prSet/>
      <dgm:spPr/>
      <dgm:t>
        <a:bodyPr/>
        <a:lstStyle/>
        <a:p>
          <a:endParaRPr lang="en-US" sz="2000"/>
        </a:p>
      </dgm:t>
    </dgm:pt>
    <dgm:pt modelId="{E265BFA4-891C-408C-98FC-08B80CC170BD}" type="sibTrans" cxnId="{8ED196F6-6553-443C-AAB2-40F72E795577}">
      <dgm:prSet/>
      <dgm:spPr/>
      <dgm:t>
        <a:bodyPr/>
        <a:lstStyle/>
        <a:p>
          <a:endParaRPr lang="en-US" sz="2000"/>
        </a:p>
      </dgm:t>
    </dgm:pt>
    <dgm:pt modelId="{0175455E-C54B-45D4-9F64-0589EB6B3316}">
      <dgm:prSet phldrT="[Text]" custT="1"/>
      <dgm:spPr>
        <a:xfrm rot="5400000">
          <a:off x="3899381" y="294510"/>
          <a:ext cx="491797" cy="3901440"/>
        </a:xfrm>
        <a:solidFill>
          <a:srgbClr val="C0392B">
            <a:tint val="40000"/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C0392B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IN" sz="1200" b="1" dirty="0">
              <a:latin typeface="Segoe UI" panose="020B0502040204020203" pitchFamily="34" charset="0"/>
              <a:cs typeface="Segoe UI" panose="020B0502040204020203" pitchFamily="34" charset="0"/>
            </a:rPr>
            <a:t>8% to 1% in Affordable Housing </a:t>
          </a:r>
          <a:r>
            <a:rPr lang="en-IN" sz="1200" b="1" dirty="0" smtClean="0">
              <a:latin typeface="Segoe UI" panose="020B0502040204020203" pitchFamily="34" charset="0"/>
              <a:cs typeface="Segoe UI" panose="020B0502040204020203" pitchFamily="34" charset="0"/>
            </a:rPr>
            <a:t>projects (without ITC) </a:t>
          </a:r>
          <a:endParaRPr lang="en-US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88BD4BDB-1D85-4113-AFEC-21431AF63D5F}" type="parTrans" cxnId="{C8B436FC-B783-46B4-A145-3B3B3DD3B3F9}">
      <dgm:prSet/>
      <dgm:spPr/>
      <dgm:t>
        <a:bodyPr/>
        <a:lstStyle/>
        <a:p>
          <a:endParaRPr lang="en-US" sz="2000"/>
        </a:p>
      </dgm:t>
    </dgm:pt>
    <dgm:pt modelId="{814ADA3B-AA89-4AB7-868E-C824585A3ABB}" type="sibTrans" cxnId="{C8B436FC-B783-46B4-A145-3B3B3DD3B3F9}">
      <dgm:prSet/>
      <dgm:spPr/>
      <dgm:t>
        <a:bodyPr/>
        <a:lstStyle/>
        <a:p>
          <a:endParaRPr lang="en-US" sz="2000"/>
        </a:p>
      </dgm:t>
    </dgm:pt>
    <dgm:pt modelId="{FCDCB472-5D0D-441E-9A63-91F48E5C3B9A}">
      <dgm:prSet phldrT="[Text]" custT="1"/>
      <dgm:spPr>
        <a:xfrm rot="5400000">
          <a:off x="3899381" y="939993"/>
          <a:ext cx="491797" cy="3901440"/>
        </a:xfrm>
        <a:solidFill>
          <a:schemeClr val="tx2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IN" sz="12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Affordable Housing Fund (AHF) with initial corpus of Rs. 10,000 Cr. to reduce interest burden on affordable </a:t>
          </a:r>
          <a:r>
            <a:rPr lang="en-IN" sz="1200" b="1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housing</a:t>
          </a:r>
          <a:endParaRPr lang="en-US" sz="1200" b="1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F183F53E-B9E4-483E-BB59-E567579A1D20}" type="parTrans" cxnId="{E555CFC0-456A-41C0-853C-A5C184B6F026}">
      <dgm:prSet/>
      <dgm:spPr/>
      <dgm:t>
        <a:bodyPr/>
        <a:lstStyle/>
        <a:p>
          <a:endParaRPr lang="en-US" sz="2000"/>
        </a:p>
      </dgm:t>
    </dgm:pt>
    <dgm:pt modelId="{88085470-E458-46BB-9028-8CC37AAF17EF}" type="sibTrans" cxnId="{E555CFC0-456A-41C0-853C-A5C184B6F026}">
      <dgm:prSet/>
      <dgm:spPr/>
      <dgm:t>
        <a:bodyPr/>
        <a:lstStyle/>
        <a:p>
          <a:endParaRPr lang="en-US" sz="2000"/>
        </a:p>
      </dgm:t>
    </dgm:pt>
    <dgm:pt modelId="{A2564307-07B9-4357-B45E-16C387743155}">
      <dgm:prSet phldrT="[Text]" custT="1"/>
      <dgm:spPr>
        <a:xfrm rot="5400000">
          <a:off x="3899381" y="294510"/>
          <a:ext cx="491797" cy="3901440"/>
        </a:xfrm>
        <a:solidFill>
          <a:srgbClr val="C0392B">
            <a:tint val="40000"/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C0392B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IN" sz="1200" b="1" dirty="0">
              <a:latin typeface="Segoe UI" panose="020B0502040204020203" pitchFamily="34" charset="0"/>
              <a:cs typeface="Segoe UI" panose="020B0502040204020203" pitchFamily="34" charset="0"/>
            </a:rPr>
            <a:t>12% to 5% in other housing </a:t>
          </a:r>
          <a:r>
            <a:rPr lang="en-IN" sz="1200" b="1" dirty="0" smtClean="0">
              <a:latin typeface="Segoe UI" panose="020B0502040204020203" pitchFamily="34" charset="0"/>
              <a:cs typeface="Segoe UI" panose="020B0502040204020203" pitchFamily="34" charset="0"/>
            </a:rPr>
            <a:t>projects (without ITC)</a:t>
          </a:r>
          <a:endParaRPr lang="en-US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F8272D80-2DF3-477B-A72B-14B863FAAF89}" type="parTrans" cxnId="{196B5E57-CC01-4C1A-BF47-B4EC402C0DB3}">
      <dgm:prSet/>
      <dgm:spPr/>
      <dgm:t>
        <a:bodyPr/>
        <a:lstStyle/>
        <a:p>
          <a:endParaRPr lang="en-US" sz="2000"/>
        </a:p>
      </dgm:t>
    </dgm:pt>
    <dgm:pt modelId="{F3F2B4AC-6C23-42F6-BB20-8F6A0D3C35EB}" type="sibTrans" cxnId="{196B5E57-CC01-4C1A-BF47-B4EC402C0DB3}">
      <dgm:prSet/>
      <dgm:spPr/>
      <dgm:t>
        <a:bodyPr/>
        <a:lstStyle/>
        <a:p>
          <a:endParaRPr lang="en-US" sz="2000"/>
        </a:p>
      </dgm:t>
    </dgm:pt>
    <dgm:pt modelId="{F4F6E80A-9D92-419F-A09E-75F48DBAB7BE}">
      <dgm:prSet phldrT="[Text]" custT="1"/>
      <dgm:spPr>
        <a:xfrm rot="5400000">
          <a:off x="3899381" y="939993"/>
          <a:ext cx="491797" cy="3901440"/>
        </a:xfrm>
        <a:solidFill>
          <a:schemeClr val="accent6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ctr"/>
          <a:r>
            <a:rPr lang="en-IN" sz="18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Income Tax Benefits </a:t>
          </a:r>
          <a:endParaRPr lang="en-US" sz="1800" b="1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EB9387A4-7C2B-4441-96D2-02ED50A381CE}" type="parTrans" cxnId="{633FB9B8-8FB6-41E2-8722-FE77E7F889FE}">
      <dgm:prSet/>
      <dgm:spPr/>
      <dgm:t>
        <a:bodyPr/>
        <a:lstStyle/>
        <a:p>
          <a:endParaRPr lang="en-US" sz="2000"/>
        </a:p>
      </dgm:t>
    </dgm:pt>
    <dgm:pt modelId="{638D341E-8AFE-4C0B-8DB6-ECA54530C534}" type="sibTrans" cxnId="{633FB9B8-8FB6-41E2-8722-FE77E7F889FE}">
      <dgm:prSet/>
      <dgm:spPr/>
      <dgm:t>
        <a:bodyPr/>
        <a:lstStyle/>
        <a:p>
          <a:endParaRPr lang="en-US" sz="2000"/>
        </a:p>
      </dgm:t>
    </dgm:pt>
    <dgm:pt modelId="{29C19857-86F8-428F-B5BD-95CBA3B05034}">
      <dgm:prSet phldrT="[Text]" custT="1"/>
      <dgm:spPr>
        <a:xfrm rot="5400000">
          <a:off x="3899381" y="939993"/>
          <a:ext cx="491797" cy="3901440"/>
        </a:xfrm>
        <a:solidFill>
          <a:schemeClr val="accent6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200" b="1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Extension of benefits of Section 80 IBA &amp; 80 EEA of Income Tax Act extended for one more year, till 31st March 2022</a:t>
          </a:r>
          <a:r>
            <a:rPr lang="en-IN" sz="1200" b="1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 </a:t>
          </a:r>
          <a:endParaRPr lang="en-US" sz="1200" b="1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92DC6BFE-0E92-4B4C-B299-35B086402730}" type="parTrans" cxnId="{272CD256-8643-402A-B755-F8770E3FB45A}">
      <dgm:prSet/>
      <dgm:spPr/>
      <dgm:t>
        <a:bodyPr/>
        <a:lstStyle/>
        <a:p>
          <a:endParaRPr lang="en-US" sz="2000"/>
        </a:p>
      </dgm:t>
    </dgm:pt>
    <dgm:pt modelId="{B214DA00-AEFF-40DC-9C4E-4450FE1E5E97}" type="sibTrans" cxnId="{272CD256-8643-402A-B755-F8770E3FB45A}">
      <dgm:prSet/>
      <dgm:spPr/>
      <dgm:t>
        <a:bodyPr/>
        <a:lstStyle/>
        <a:p>
          <a:endParaRPr lang="en-US" sz="2000"/>
        </a:p>
      </dgm:t>
    </dgm:pt>
    <dgm:pt modelId="{57EB1B51-CCEB-46B4-A840-419E600555F4}">
      <dgm:prSet phldrT="[Text]" custT="1"/>
      <dgm:spPr>
        <a:xfrm rot="5400000">
          <a:off x="3899381" y="939993"/>
          <a:ext cx="491797" cy="3901440"/>
        </a:xfrm>
        <a:solidFill>
          <a:srgbClr val="FFC000">
            <a:alpha val="90000"/>
          </a:srgb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ctr"/>
          <a:r>
            <a:rPr lang="en-US" sz="2000" b="1" dirty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AIF</a:t>
          </a:r>
          <a:endParaRPr lang="en-US" sz="1800" b="1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13D656E0-C5FD-4B1C-A8EE-2BD59105375F}" type="parTrans" cxnId="{623C921F-5E9D-41A7-9CF2-E24639DEF85F}">
      <dgm:prSet/>
      <dgm:spPr/>
      <dgm:t>
        <a:bodyPr/>
        <a:lstStyle/>
        <a:p>
          <a:endParaRPr lang="en-US" sz="2000"/>
        </a:p>
      </dgm:t>
    </dgm:pt>
    <dgm:pt modelId="{5D1521BC-9692-4500-8551-7573549E3D7B}" type="sibTrans" cxnId="{623C921F-5E9D-41A7-9CF2-E24639DEF85F}">
      <dgm:prSet/>
      <dgm:spPr/>
      <dgm:t>
        <a:bodyPr/>
        <a:lstStyle/>
        <a:p>
          <a:endParaRPr lang="en-US" sz="2000"/>
        </a:p>
      </dgm:t>
    </dgm:pt>
    <dgm:pt modelId="{0FFCCFF8-9295-4C66-B665-C48D2452D686}">
      <dgm:prSet phldrT="[Text]" custT="1"/>
      <dgm:spPr>
        <a:xfrm rot="5400000">
          <a:off x="3899381" y="939993"/>
          <a:ext cx="491797" cy="3901440"/>
        </a:xfrm>
        <a:solidFill>
          <a:srgbClr val="FFC000">
            <a:alpha val="90000"/>
          </a:srgb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IN" sz="1200" b="1" dirty="0">
              <a:latin typeface="Segoe UI" panose="020B0502040204020203" pitchFamily="34" charset="0"/>
              <a:cs typeface="Segoe UI" panose="020B0502040204020203" pitchFamily="34" charset="0"/>
            </a:rPr>
            <a:t>Alternate Investment Fund (AIF</a:t>
          </a:r>
          <a:r>
            <a:rPr lang="en-IN" sz="1200" b="1" dirty="0" smtClean="0">
              <a:latin typeface="Segoe UI" panose="020B0502040204020203" pitchFamily="34" charset="0"/>
              <a:cs typeface="Segoe UI" panose="020B0502040204020203" pitchFamily="34" charset="0"/>
            </a:rPr>
            <a:t>)- SWAMIH fund </a:t>
          </a:r>
          <a:r>
            <a:rPr lang="en-IN" sz="1200" b="1" dirty="0">
              <a:latin typeface="Segoe UI" panose="020B0502040204020203" pitchFamily="34" charset="0"/>
              <a:cs typeface="Segoe UI" panose="020B0502040204020203" pitchFamily="34" charset="0"/>
            </a:rPr>
            <a:t>of INR 25,000 Cr. for last mile funding of stalled </a:t>
          </a:r>
          <a:r>
            <a:rPr lang="en-IN" sz="1200" b="1" dirty="0" smtClean="0">
              <a:latin typeface="Segoe UI" panose="020B0502040204020203" pitchFamily="34" charset="0"/>
              <a:cs typeface="Segoe UI" panose="020B0502040204020203" pitchFamily="34" charset="0"/>
            </a:rPr>
            <a:t>housing </a:t>
          </a:r>
          <a:r>
            <a:rPr lang="en-IN" sz="1200" b="1" dirty="0">
              <a:latin typeface="Segoe UI" panose="020B0502040204020203" pitchFamily="34" charset="0"/>
              <a:cs typeface="Segoe UI" panose="020B0502040204020203" pitchFamily="34" charset="0"/>
            </a:rPr>
            <a:t>projects</a:t>
          </a:r>
          <a:endParaRPr lang="en-US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6361E1A9-1A24-4561-A542-E7EEDAEBAC97}" type="parTrans" cxnId="{6CD168C7-66F2-4FB6-842F-0BEF9DD4B2FA}">
      <dgm:prSet/>
      <dgm:spPr/>
      <dgm:t>
        <a:bodyPr/>
        <a:lstStyle/>
        <a:p>
          <a:endParaRPr lang="en-US" sz="2000"/>
        </a:p>
      </dgm:t>
    </dgm:pt>
    <dgm:pt modelId="{F78E9DE8-35D9-42AA-9B53-D5B73A536F44}" type="sibTrans" cxnId="{6CD168C7-66F2-4FB6-842F-0BEF9DD4B2FA}">
      <dgm:prSet/>
      <dgm:spPr/>
      <dgm:t>
        <a:bodyPr/>
        <a:lstStyle/>
        <a:p>
          <a:endParaRPr lang="en-US" sz="2000"/>
        </a:p>
      </dgm:t>
    </dgm:pt>
    <dgm:pt modelId="{B575D0A2-514A-44F4-BADA-13BEBCDB51EB}">
      <dgm:prSet phldrT="[Text]" custT="1"/>
      <dgm:spPr>
        <a:xfrm rot="5400000">
          <a:off x="3899381" y="939993"/>
          <a:ext cx="491797" cy="3901440"/>
        </a:xfrm>
        <a:solidFill>
          <a:schemeClr val="accent2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ctr"/>
          <a:r>
            <a:rPr lang="en-US" sz="1800" b="1" dirty="0" err="1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EoDB</a:t>
          </a:r>
          <a:endParaRPr lang="en-US" sz="1800" b="1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DE4EC929-A559-4532-8C15-49467C3D479F}" type="parTrans" cxnId="{6AACD78D-E40A-4E4D-BDEE-B4CF24CE86B1}">
      <dgm:prSet/>
      <dgm:spPr/>
      <dgm:t>
        <a:bodyPr/>
        <a:lstStyle/>
        <a:p>
          <a:endParaRPr lang="en-US" sz="2000"/>
        </a:p>
      </dgm:t>
    </dgm:pt>
    <dgm:pt modelId="{E816FAC4-725F-4A15-AE26-C49D33830B72}" type="sibTrans" cxnId="{6AACD78D-E40A-4E4D-BDEE-B4CF24CE86B1}">
      <dgm:prSet/>
      <dgm:spPr/>
      <dgm:t>
        <a:bodyPr/>
        <a:lstStyle/>
        <a:p>
          <a:endParaRPr lang="en-US" sz="2000"/>
        </a:p>
      </dgm:t>
    </dgm:pt>
    <dgm:pt modelId="{B6D2240E-D505-4C1C-8F00-ED0548308076}">
      <dgm:prSet phldrT="[Text]" custT="1"/>
      <dgm:spPr>
        <a:xfrm rot="5400000">
          <a:off x="3899381" y="939993"/>
          <a:ext cx="491797" cy="3901440"/>
        </a:xfrm>
        <a:solidFill>
          <a:schemeClr val="accent2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just"/>
          <a:r>
            <a:rPr lang="en-IN" sz="12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Major jump in ease of doing business rank in Word Bank’s </a:t>
          </a:r>
          <a:r>
            <a:rPr lang="en-IN" sz="1200" b="1" i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Doing Business </a:t>
          </a:r>
          <a:r>
            <a:rPr lang="en-IN" sz="1200" b="1" i="1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Report from </a:t>
          </a:r>
          <a:r>
            <a:rPr lang="en-IN" sz="12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142</a:t>
          </a:r>
          <a:r>
            <a:rPr lang="en-IN" sz="1200" b="1" baseline="30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nd</a:t>
          </a:r>
          <a:r>
            <a:rPr lang="en-IN" sz="12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 to 63</a:t>
          </a:r>
          <a:r>
            <a:rPr lang="en-IN" sz="1200" b="1" baseline="30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rd</a:t>
          </a:r>
          <a:r>
            <a:rPr lang="en-IN" sz="12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. In construction permit, India climbed from </a:t>
          </a:r>
          <a:r>
            <a:rPr lang="en-IN" sz="1200" b="1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52</a:t>
          </a:r>
          <a:r>
            <a:rPr lang="en-IN" sz="1200" b="1" baseline="300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th  </a:t>
          </a:r>
          <a:r>
            <a:rPr lang="en-IN" sz="12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to 27</a:t>
          </a:r>
          <a:r>
            <a:rPr lang="en-IN" sz="1200" b="1" baseline="30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th</a:t>
          </a:r>
          <a:r>
            <a:rPr lang="en-IN" sz="12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 place</a:t>
          </a:r>
          <a:endParaRPr lang="en-US" sz="1200" b="1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461ADD7B-6F31-439E-A15B-B9D1632C7E2F}" type="parTrans" cxnId="{3BFCFEC9-D366-4DBF-8CC8-F036B394F112}">
      <dgm:prSet/>
      <dgm:spPr/>
      <dgm:t>
        <a:bodyPr/>
        <a:lstStyle/>
        <a:p>
          <a:endParaRPr lang="en-US" sz="2000"/>
        </a:p>
      </dgm:t>
    </dgm:pt>
    <dgm:pt modelId="{00892BB5-88DC-4457-B8AF-CE14BC398BFB}" type="sibTrans" cxnId="{3BFCFEC9-D366-4DBF-8CC8-F036B394F112}">
      <dgm:prSet/>
      <dgm:spPr/>
      <dgm:t>
        <a:bodyPr/>
        <a:lstStyle/>
        <a:p>
          <a:endParaRPr lang="en-US" sz="2000"/>
        </a:p>
      </dgm:t>
    </dgm:pt>
    <dgm:pt modelId="{916267AA-4A39-4ADC-93B7-3D217075F5DD}" type="pres">
      <dgm:prSet presAssocID="{B9C32B05-62EA-407A-B21C-2310C794570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59F22C4-9892-4484-9677-F3CA99241DDE}" type="pres">
      <dgm:prSet presAssocID="{F66099B6-DBBD-4AB0-82D2-877B80F846F7}" presName="linNode" presStyleCnt="0"/>
      <dgm:spPr/>
    </dgm:pt>
    <dgm:pt modelId="{0F827D5D-7F21-4BEF-A102-47C64E91352C}" type="pres">
      <dgm:prSet presAssocID="{F66099B6-DBBD-4AB0-82D2-877B80F846F7}" presName="parentText" presStyleLbl="node1" presStyleIdx="0" presStyleCnt="7" custScaleX="63137">
        <dgm:presLayoutVars>
          <dgm:chMax val="1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8AF496D8-89A4-49F1-B591-96EE4F6C6E14}" type="pres">
      <dgm:prSet presAssocID="{F66099B6-DBBD-4AB0-82D2-877B80F846F7}" presName="descendantText" presStyleLbl="alignAccFollowNode1" presStyleIdx="0" presStyleCnt="7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en-US"/>
        </a:p>
      </dgm:t>
    </dgm:pt>
    <dgm:pt modelId="{FEC3DA91-5335-4664-9C95-D4ECC3AF06A7}" type="pres">
      <dgm:prSet presAssocID="{BC531B32-9B0E-482E-BF91-65C61F17168D}" presName="sp" presStyleCnt="0"/>
      <dgm:spPr/>
    </dgm:pt>
    <dgm:pt modelId="{B35CB561-A6FC-4BDF-B187-2515CA365B75}" type="pres">
      <dgm:prSet presAssocID="{EE62A4F6-4AC4-435B-990E-81A71CE8CAC7}" presName="linNode" presStyleCnt="0"/>
      <dgm:spPr/>
    </dgm:pt>
    <dgm:pt modelId="{05987F72-554B-4E59-8821-222F2010FE24}" type="pres">
      <dgm:prSet presAssocID="{EE62A4F6-4AC4-435B-990E-81A71CE8CAC7}" presName="parentText" presStyleLbl="node1" presStyleIdx="1" presStyleCnt="7" custScaleX="63137">
        <dgm:presLayoutVars>
          <dgm:chMax val="1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CA9FB3D2-9B4E-4889-946B-F6D475ACE6C1}" type="pres">
      <dgm:prSet presAssocID="{EE62A4F6-4AC4-435B-990E-81A71CE8CAC7}" presName="descendantText" presStyleLbl="alignAccFollowNode1" presStyleIdx="1" presStyleCnt="7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en-US"/>
        </a:p>
      </dgm:t>
    </dgm:pt>
    <dgm:pt modelId="{1BC60D3C-4F1A-4934-9572-FE1AACE845A9}" type="pres">
      <dgm:prSet presAssocID="{389F9A93-0231-4877-8C41-5D5B8DD7AAC0}" presName="sp" presStyleCnt="0"/>
      <dgm:spPr/>
    </dgm:pt>
    <dgm:pt modelId="{AD0FD89C-C742-4F64-8D61-99BBA2D524B9}" type="pres">
      <dgm:prSet presAssocID="{B6D9DE15-697B-42C2-B6A1-CE31260EED93}" presName="linNode" presStyleCnt="0"/>
      <dgm:spPr/>
    </dgm:pt>
    <dgm:pt modelId="{B77ED579-1174-4833-A02C-24E1C924A899}" type="pres">
      <dgm:prSet presAssocID="{B6D9DE15-697B-42C2-B6A1-CE31260EED93}" presName="parentText" presStyleLbl="node1" presStyleIdx="2" presStyleCnt="7" custScaleX="63137">
        <dgm:presLayoutVars>
          <dgm:chMax val="1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D472FB88-F4A6-4733-BBD6-FCCD74C804B9}" type="pres">
      <dgm:prSet presAssocID="{B6D9DE15-697B-42C2-B6A1-CE31260EED93}" presName="descendantText" presStyleLbl="alignAccFollowNode1" presStyleIdx="2" presStyleCnt="7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en-US"/>
        </a:p>
      </dgm:t>
    </dgm:pt>
    <dgm:pt modelId="{4C26B9B9-82C4-46EE-8E00-2778D730DF38}" type="pres">
      <dgm:prSet presAssocID="{B605B681-1ACB-4650-8600-F9223ABDDC16}" presName="sp" presStyleCnt="0"/>
      <dgm:spPr/>
    </dgm:pt>
    <dgm:pt modelId="{2FE588C9-E69E-49F0-8DFC-DF3A448B94FA}" type="pres">
      <dgm:prSet presAssocID="{244CE93D-3CE9-480A-BC40-D5795AE4CC61}" presName="linNode" presStyleCnt="0"/>
      <dgm:spPr/>
    </dgm:pt>
    <dgm:pt modelId="{94569F91-208B-4BDC-8751-A9895D45EAF8}" type="pres">
      <dgm:prSet presAssocID="{244CE93D-3CE9-480A-BC40-D5795AE4CC61}" presName="parentText" presStyleLbl="node1" presStyleIdx="3" presStyleCnt="7" custScaleX="63137">
        <dgm:presLayoutVars>
          <dgm:chMax val="1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B600E709-DF12-4A8F-ADF3-337F9DA08A67}" type="pres">
      <dgm:prSet presAssocID="{244CE93D-3CE9-480A-BC40-D5795AE4CC61}" presName="descendantText" presStyleLbl="alignAccFollowNode1" presStyleIdx="3" presStyleCnt="7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en-US"/>
        </a:p>
      </dgm:t>
    </dgm:pt>
    <dgm:pt modelId="{5D24F6F5-F435-4CA3-962D-617FBE852C32}" type="pres">
      <dgm:prSet presAssocID="{AA2C577D-A278-4959-857E-CDA154440386}" presName="sp" presStyleCnt="0"/>
      <dgm:spPr/>
    </dgm:pt>
    <dgm:pt modelId="{0FFBF042-DC3B-4BFE-84BE-A0F638EA582E}" type="pres">
      <dgm:prSet presAssocID="{F4F6E80A-9D92-419F-A09E-75F48DBAB7BE}" presName="linNode" presStyleCnt="0"/>
      <dgm:spPr/>
    </dgm:pt>
    <dgm:pt modelId="{62330F90-1F51-4A61-BBE6-487F684CEE45}" type="pres">
      <dgm:prSet presAssocID="{F4F6E80A-9D92-419F-A09E-75F48DBAB7BE}" presName="parentText" presStyleLbl="node1" presStyleIdx="4" presStyleCnt="7" custScaleX="631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446C05-E062-4D4A-97DE-B9D3A2A36125}" type="pres">
      <dgm:prSet presAssocID="{F4F6E80A-9D92-419F-A09E-75F48DBAB7BE}" presName="descendantText" presStyleLbl="alignAccFollow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E9AEE7-6327-4809-94B1-1D11BF832AF3}" type="pres">
      <dgm:prSet presAssocID="{638D341E-8AFE-4C0B-8DB6-ECA54530C534}" presName="sp" presStyleCnt="0"/>
      <dgm:spPr/>
    </dgm:pt>
    <dgm:pt modelId="{4357C8BC-30F8-4B57-8353-BD9FF7A7A4B3}" type="pres">
      <dgm:prSet presAssocID="{57EB1B51-CCEB-46B4-A840-419E600555F4}" presName="linNode" presStyleCnt="0"/>
      <dgm:spPr/>
    </dgm:pt>
    <dgm:pt modelId="{40FBDAF8-4327-463F-97FA-CE11B0BED577}" type="pres">
      <dgm:prSet presAssocID="{57EB1B51-CCEB-46B4-A840-419E600555F4}" presName="parentText" presStyleLbl="node1" presStyleIdx="5" presStyleCnt="7" custScaleX="631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ED8412-AF28-42EE-AE5A-655577492216}" type="pres">
      <dgm:prSet presAssocID="{57EB1B51-CCEB-46B4-A840-419E600555F4}" presName="descendantText" presStyleLbl="alignAccFollow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A85DA5-BFCF-4D7B-A8C8-97CC7989AFE6}" type="pres">
      <dgm:prSet presAssocID="{5D1521BC-9692-4500-8551-7573549E3D7B}" presName="sp" presStyleCnt="0"/>
      <dgm:spPr/>
    </dgm:pt>
    <dgm:pt modelId="{9BBB0AAD-CDF5-48AD-9635-B9B37B034F32}" type="pres">
      <dgm:prSet presAssocID="{B575D0A2-514A-44F4-BADA-13BEBCDB51EB}" presName="linNode" presStyleCnt="0"/>
      <dgm:spPr/>
    </dgm:pt>
    <dgm:pt modelId="{44681B04-C0B3-444F-B19A-03A1110E7D97}" type="pres">
      <dgm:prSet presAssocID="{B575D0A2-514A-44F4-BADA-13BEBCDB51EB}" presName="parentText" presStyleLbl="node1" presStyleIdx="6" presStyleCnt="7" custScaleX="631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345DFF-4BAB-4935-8767-79AD9F18DBBE}" type="pres">
      <dgm:prSet presAssocID="{B575D0A2-514A-44F4-BADA-13BEBCDB51EB}" presName="descendantText" presStyleLbl="alignAccFollow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1CD8CA1-F7F3-4BB7-B5F3-14F091FDF117}" type="presOf" srcId="{B9C32B05-62EA-407A-B21C-2310C7945705}" destId="{916267AA-4A39-4ADC-93B7-3D217075F5DD}" srcOrd="0" destOrd="0" presId="urn:microsoft.com/office/officeart/2005/8/layout/vList5"/>
    <dgm:cxn modelId="{03D058FC-A38F-4D48-9D0B-E8A73D18AC4C}" type="presOf" srcId="{F66099B6-DBBD-4AB0-82D2-877B80F846F7}" destId="{0F827D5D-7F21-4BEF-A102-47C64E91352C}" srcOrd="0" destOrd="0" presId="urn:microsoft.com/office/officeart/2005/8/layout/vList5"/>
    <dgm:cxn modelId="{272CD256-8643-402A-B755-F8770E3FB45A}" srcId="{F4F6E80A-9D92-419F-A09E-75F48DBAB7BE}" destId="{29C19857-86F8-428F-B5BD-95CBA3B05034}" srcOrd="0" destOrd="0" parTransId="{92DC6BFE-0E92-4B4C-B299-35B086402730}" sibTransId="{B214DA00-AEFF-40DC-9C4E-4450FE1E5E97}"/>
    <dgm:cxn modelId="{994CF0A2-DAB8-4AE1-8DB8-D47178611669}" type="presOf" srcId="{0FFCCFF8-9295-4C66-B665-C48D2452D686}" destId="{FEED8412-AF28-42EE-AE5A-655577492216}" srcOrd="0" destOrd="0" presId="urn:microsoft.com/office/officeart/2005/8/layout/vList5"/>
    <dgm:cxn modelId="{E6758E8C-AFD9-48C4-8B9E-E7884CDD63CB}" type="presOf" srcId="{EE62A4F6-4AC4-435B-990E-81A71CE8CAC7}" destId="{05987F72-554B-4E59-8821-222F2010FE24}" srcOrd="0" destOrd="0" presId="urn:microsoft.com/office/officeart/2005/8/layout/vList5"/>
    <dgm:cxn modelId="{53E4964F-9671-4AA2-B0BD-BF5EAE314BE6}" type="presOf" srcId="{57EB1B51-CCEB-46B4-A840-419E600555F4}" destId="{40FBDAF8-4327-463F-97FA-CE11B0BED577}" srcOrd="0" destOrd="0" presId="urn:microsoft.com/office/officeart/2005/8/layout/vList5"/>
    <dgm:cxn modelId="{8ED196F6-6553-443C-AAB2-40F72E795577}" srcId="{EE62A4F6-4AC4-435B-990E-81A71CE8CAC7}" destId="{DDCF078C-D429-4F3D-A86A-601C37333F0E}" srcOrd="0" destOrd="0" parTransId="{1882E0FC-22B0-4EC0-AFEA-6913C3E42D04}" sibTransId="{E265BFA4-891C-408C-98FC-08B80CC170BD}"/>
    <dgm:cxn modelId="{6AACD78D-E40A-4E4D-BDEE-B4CF24CE86B1}" srcId="{B9C32B05-62EA-407A-B21C-2310C7945705}" destId="{B575D0A2-514A-44F4-BADA-13BEBCDB51EB}" srcOrd="6" destOrd="0" parTransId="{DE4EC929-A559-4532-8C15-49467C3D479F}" sibTransId="{E816FAC4-725F-4A15-AE26-C49D33830B72}"/>
    <dgm:cxn modelId="{02E61265-F085-40EE-821C-7A2B70A73B74}" type="presOf" srcId="{29C19857-86F8-428F-B5BD-95CBA3B05034}" destId="{24446C05-E062-4D4A-97DE-B9D3A2A36125}" srcOrd="0" destOrd="0" presId="urn:microsoft.com/office/officeart/2005/8/layout/vList5"/>
    <dgm:cxn modelId="{B4F3EA32-CE64-4A92-9BAE-BC57E5392B05}" srcId="{B9C32B05-62EA-407A-B21C-2310C7945705}" destId="{F66099B6-DBBD-4AB0-82D2-877B80F846F7}" srcOrd="0" destOrd="0" parTransId="{B09C8BFB-F41C-4AC4-AB94-F216E3081C2D}" sibTransId="{BC531B32-9B0E-482E-BF91-65C61F17168D}"/>
    <dgm:cxn modelId="{40513FB0-F94C-499F-9A0B-9E0341D0A0C2}" srcId="{B9C32B05-62EA-407A-B21C-2310C7945705}" destId="{B6D9DE15-697B-42C2-B6A1-CE31260EED93}" srcOrd="2" destOrd="0" parTransId="{EAC9FC21-5112-4CCF-8070-06ED15ED24ED}" sibTransId="{B605B681-1ACB-4650-8600-F9223ABDDC16}"/>
    <dgm:cxn modelId="{3A2CECA6-0C5B-46BB-B7C6-7D37E9D210BD}" srcId="{B9C32B05-62EA-407A-B21C-2310C7945705}" destId="{EE62A4F6-4AC4-435B-990E-81A71CE8CAC7}" srcOrd="1" destOrd="0" parTransId="{F287B947-7343-4FA2-B288-B23A59FFAE31}" sibTransId="{389F9A93-0231-4877-8C41-5D5B8DD7AAC0}"/>
    <dgm:cxn modelId="{E555CFC0-456A-41C0-853C-A5C184B6F026}" srcId="{244CE93D-3CE9-480A-BC40-D5795AE4CC61}" destId="{FCDCB472-5D0D-441E-9A63-91F48E5C3B9A}" srcOrd="0" destOrd="0" parTransId="{F183F53E-B9E4-483E-BB59-E567579A1D20}" sibTransId="{88085470-E458-46BB-9028-8CC37AAF17EF}"/>
    <dgm:cxn modelId="{C8B436FC-B783-46B4-A145-3B3B3DD3B3F9}" srcId="{B6D9DE15-697B-42C2-B6A1-CE31260EED93}" destId="{0175455E-C54B-45D4-9F64-0589EB6B3316}" srcOrd="0" destOrd="0" parTransId="{88BD4BDB-1D85-4113-AFEC-21431AF63D5F}" sibTransId="{814ADA3B-AA89-4AB7-868E-C824585A3ABB}"/>
    <dgm:cxn modelId="{196B5E57-CC01-4C1A-BF47-B4EC402C0DB3}" srcId="{B6D9DE15-697B-42C2-B6A1-CE31260EED93}" destId="{A2564307-07B9-4357-B45E-16C387743155}" srcOrd="1" destOrd="0" parTransId="{F8272D80-2DF3-477B-A72B-14B863FAAF89}" sibTransId="{F3F2B4AC-6C23-42F6-BB20-8F6A0D3C35EB}"/>
    <dgm:cxn modelId="{CF5869D6-6A6F-41B0-9F6F-65CB0138F472}" type="presOf" srcId="{DDCF078C-D429-4F3D-A86A-601C37333F0E}" destId="{CA9FB3D2-9B4E-4889-946B-F6D475ACE6C1}" srcOrd="0" destOrd="0" presId="urn:microsoft.com/office/officeart/2005/8/layout/vList5"/>
    <dgm:cxn modelId="{B67C429A-676D-498F-BD4F-6F81260B2EC4}" type="presOf" srcId="{A2564307-07B9-4357-B45E-16C387743155}" destId="{D472FB88-F4A6-4733-BBD6-FCCD74C804B9}" srcOrd="0" destOrd="1" presId="urn:microsoft.com/office/officeart/2005/8/layout/vList5"/>
    <dgm:cxn modelId="{6CD168C7-66F2-4FB6-842F-0BEF9DD4B2FA}" srcId="{57EB1B51-CCEB-46B4-A840-419E600555F4}" destId="{0FFCCFF8-9295-4C66-B665-C48D2452D686}" srcOrd="0" destOrd="0" parTransId="{6361E1A9-1A24-4561-A542-E7EEDAEBAC97}" sibTransId="{F78E9DE8-35D9-42AA-9B53-D5B73A536F44}"/>
    <dgm:cxn modelId="{633FB9B8-8FB6-41E2-8722-FE77E7F889FE}" srcId="{B9C32B05-62EA-407A-B21C-2310C7945705}" destId="{F4F6E80A-9D92-419F-A09E-75F48DBAB7BE}" srcOrd="4" destOrd="0" parTransId="{EB9387A4-7C2B-4441-96D2-02ED50A381CE}" sibTransId="{638D341E-8AFE-4C0B-8DB6-ECA54530C534}"/>
    <dgm:cxn modelId="{139C599B-310D-4154-99BE-39E33501FAEF}" type="presOf" srcId="{6CF284C3-4A70-4432-8F33-E75A802B3330}" destId="{8AF496D8-89A4-49F1-B591-96EE4F6C6E14}" srcOrd="0" destOrd="0" presId="urn:microsoft.com/office/officeart/2005/8/layout/vList5"/>
    <dgm:cxn modelId="{4B31946D-F5E8-4049-827D-164CEBF60568}" type="presOf" srcId="{FCDCB472-5D0D-441E-9A63-91F48E5C3B9A}" destId="{B600E709-DF12-4A8F-ADF3-337F9DA08A67}" srcOrd="0" destOrd="0" presId="urn:microsoft.com/office/officeart/2005/8/layout/vList5"/>
    <dgm:cxn modelId="{0E76112B-6DD8-43BA-8BB1-80F7AA93E336}" type="presOf" srcId="{B6D2240E-D505-4C1C-8F00-ED0548308076}" destId="{9B345DFF-4BAB-4935-8767-79AD9F18DBBE}" srcOrd="0" destOrd="0" presId="urn:microsoft.com/office/officeart/2005/8/layout/vList5"/>
    <dgm:cxn modelId="{746C65D4-0A32-4610-8B9B-A01592BB40A3}" srcId="{B9C32B05-62EA-407A-B21C-2310C7945705}" destId="{244CE93D-3CE9-480A-BC40-D5795AE4CC61}" srcOrd="3" destOrd="0" parTransId="{B26CFE49-55EC-4B92-8D65-F00D6B48420B}" sibTransId="{AA2C577D-A278-4959-857E-CDA154440386}"/>
    <dgm:cxn modelId="{A4137244-949F-413C-80E7-86BB16132AC2}" type="presOf" srcId="{F4F6E80A-9D92-419F-A09E-75F48DBAB7BE}" destId="{62330F90-1F51-4A61-BBE6-487F684CEE45}" srcOrd="0" destOrd="0" presId="urn:microsoft.com/office/officeart/2005/8/layout/vList5"/>
    <dgm:cxn modelId="{CF668CF4-7567-4C93-8144-F3465670EA2B}" type="presOf" srcId="{B575D0A2-514A-44F4-BADA-13BEBCDB51EB}" destId="{44681B04-C0B3-444F-B19A-03A1110E7D97}" srcOrd="0" destOrd="0" presId="urn:microsoft.com/office/officeart/2005/8/layout/vList5"/>
    <dgm:cxn modelId="{2DC24386-BC50-4BAB-8571-16CB10C2603C}" srcId="{F66099B6-DBBD-4AB0-82D2-877B80F846F7}" destId="{6CF284C3-4A70-4432-8F33-E75A802B3330}" srcOrd="0" destOrd="0" parTransId="{044831E6-2FC9-4DDA-81FB-5FA418568D07}" sibTransId="{CD50B82D-84BB-4747-B282-ABB339EBA294}"/>
    <dgm:cxn modelId="{623C921F-5E9D-41A7-9CF2-E24639DEF85F}" srcId="{B9C32B05-62EA-407A-B21C-2310C7945705}" destId="{57EB1B51-CCEB-46B4-A840-419E600555F4}" srcOrd="5" destOrd="0" parTransId="{13D656E0-C5FD-4B1C-A8EE-2BD59105375F}" sibTransId="{5D1521BC-9692-4500-8551-7573549E3D7B}"/>
    <dgm:cxn modelId="{13647A14-E411-4CE2-A48A-AA04D58AAAD5}" type="presOf" srcId="{0175455E-C54B-45D4-9F64-0589EB6B3316}" destId="{D472FB88-F4A6-4733-BBD6-FCCD74C804B9}" srcOrd="0" destOrd="0" presId="urn:microsoft.com/office/officeart/2005/8/layout/vList5"/>
    <dgm:cxn modelId="{F5292241-B2F2-4A82-9713-F68B90C0A747}" type="presOf" srcId="{B6D9DE15-697B-42C2-B6A1-CE31260EED93}" destId="{B77ED579-1174-4833-A02C-24E1C924A899}" srcOrd="0" destOrd="0" presId="urn:microsoft.com/office/officeart/2005/8/layout/vList5"/>
    <dgm:cxn modelId="{F2E3F217-BD2C-42C6-A0DE-3B6B4C789F77}" type="presOf" srcId="{244CE93D-3CE9-480A-BC40-D5795AE4CC61}" destId="{94569F91-208B-4BDC-8751-A9895D45EAF8}" srcOrd="0" destOrd="0" presId="urn:microsoft.com/office/officeart/2005/8/layout/vList5"/>
    <dgm:cxn modelId="{3BFCFEC9-D366-4DBF-8CC8-F036B394F112}" srcId="{B575D0A2-514A-44F4-BADA-13BEBCDB51EB}" destId="{B6D2240E-D505-4C1C-8F00-ED0548308076}" srcOrd="0" destOrd="0" parTransId="{461ADD7B-6F31-439E-A15B-B9D1632C7E2F}" sibTransId="{00892BB5-88DC-4457-B8AF-CE14BC398BFB}"/>
    <dgm:cxn modelId="{AA3FF3E0-8705-4225-8678-799226423F96}" type="presParOf" srcId="{916267AA-4A39-4ADC-93B7-3D217075F5DD}" destId="{359F22C4-9892-4484-9677-F3CA99241DDE}" srcOrd="0" destOrd="0" presId="urn:microsoft.com/office/officeart/2005/8/layout/vList5"/>
    <dgm:cxn modelId="{0351EA1E-D2A4-4E37-9637-EDEB5F862BBC}" type="presParOf" srcId="{359F22C4-9892-4484-9677-F3CA99241DDE}" destId="{0F827D5D-7F21-4BEF-A102-47C64E91352C}" srcOrd="0" destOrd="0" presId="urn:microsoft.com/office/officeart/2005/8/layout/vList5"/>
    <dgm:cxn modelId="{38E8239F-5AF2-40EE-BEBB-D791E7064747}" type="presParOf" srcId="{359F22C4-9892-4484-9677-F3CA99241DDE}" destId="{8AF496D8-89A4-49F1-B591-96EE4F6C6E14}" srcOrd="1" destOrd="0" presId="urn:microsoft.com/office/officeart/2005/8/layout/vList5"/>
    <dgm:cxn modelId="{7D4912D7-F32F-4FF2-A97B-9C50F7581753}" type="presParOf" srcId="{916267AA-4A39-4ADC-93B7-3D217075F5DD}" destId="{FEC3DA91-5335-4664-9C95-D4ECC3AF06A7}" srcOrd="1" destOrd="0" presId="urn:microsoft.com/office/officeart/2005/8/layout/vList5"/>
    <dgm:cxn modelId="{3CF0CC02-B820-4E43-8CC9-ACF42290FAEB}" type="presParOf" srcId="{916267AA-4A39-4ADC-93B7-3D217075F5DD}" destId="{B35CB561-A6FC-4BDF-B187-2515CA365B75}" srcOrd="2" destOrd="0" presId="urn:microsoft.com/office/officeart/2005/8/layout/vList5"/>
    <dgm:cxn modelId="{6DF133BE-857F-4D4E-A31C-B6F259735556}" type="presParOf" srcId="{B35CB561-A6FC-4BDF-B187-2515CA365B75}" destId="{05987F72-554B-4E59-8821-222F2010FE24}" srcOrd="0" destOrd="0" presId="urn:microsoft.com/office/officeart/2005/8/layout/vList5"/>
    <dgm:cxn modelId="{2963C8FE-252A-43F6-8884-CB59B32C84B2}" type="presParOf" srcId="{B35CB561-A6FC-4BDF-B187-2515CA365B75}" destId="{CA9FB3D2-9B4E-4889-946B-F6D475ACE6C1}" srcOrd="1" destOrd="0" presId="urn:microsoft.com/office/officeart/2005/8/layout/vList5"/>
    <dgm:cxn modelId="{433B835C-28F0-4B99-892E-891336C61955}" type="presParOf" srcId="{916267AA-4A39-4ADC-93B7-3D217075F5DD}" destId="{1BC60D3C-4F1A-4934-9572-FE1AACE845A9}" srcOrd="3" destOrd="0" presId="urn:microsoft.com/office/officeart/2005/8/layout/vList5"/>
    <dgm:cxn modelId="{494F88E1-9123-4FB5-9F72-4D4CB649DAD9}" type="presParOf" srcId="{916267AA-4A39-4ADC-93B7-3D217075F5DD}" destId="{AD0FD89C-C742-4F64-8D61-99BBA2D524B9}" srcOrd="4" destOrd="0" presId="urn:microsoft.com/office/officeart/2005/8/layout/vList5"/>
    <dgm:cxn modelId="{C60ABB18-804D-4C90-B362-DDE51D53759B}" type="presParOf" srcId="{AD0FD89C-C742-4F64-8D61-99BBA2D524B9}" destId="{B77ED579-1174-4833-A02C-24E1C924A899}" srcOrd="0" destOrd="0" presId="urn:microsoft.com/office/officeart/2005/8/layout/vList5"/>
    <dgm:cxn modelId="{5E0F1FF9-BEBE-4F1B-AB79-C635CEC9BCFE}" type="presParOf" srcId="{AD0FD89C-C742-4F64-8D61-99BBA2D524B9}" destId="{D472FB88-F4A6-4733-BBD6-FCCD74C804B9}" srcOrd="1" destOrd="0" presId="urn:microsoft.com/office/officeart/2005/8/layout/vList5"/>
    <dgm:cxn modelId="{6CBD7C5C-38FF-4F70-8747-BEE8DED90C8C}" type="presParOf" srcId="{916267AA-4A39-4ADC-93B7-3D217075F5DD}" destId="{4C26B9B9-82C4-46EE-8E00-2778D730DF38}" srcOrd="5" destOrd="0" presId="urn:microsoft.com/office/officeart/2005/8/layout/vList5"/>
    <dgm:cxn modelId="{62C685CE-83EE-4974-A4D8-140DDC6BEB0A}" type="presParOf" srcId="{916267AA-4A39-4ADC-93B7-3D217075F5DD}" destId="{2FE588C9-E69E-49F0-8DFC-DF3A448B94FA}" srcOrd="6" destOrd="0" presId="urn:microsoft.com/office/officeart/2005/8/layout/vList5"/>
    <dgm:cxn modelId="{22AF1E83-6FC2-4C1F-8AE7-6E3EC8301B24}" type="presParOf" srcId="{2FE588C9-E69E-49F0-8DFC-DF3A448B94FA}" destId="{94569F91-208B-4BDC-8751-A9895D45EAF8}" srcOrd="0" destOrd="0" presId="urn:microsoft.com/office/officeart/2005/8/layout/vList5"/>
    <dgm:cxn modelId="{6E940AB7-B9D0-4709-AC9B-23CFC4CF188F}" type="presParOf" srcId="{2FE588C9-E69E-49F0-8DFC-DF3A448B94FA}" destId="{B600E709-DF12-4A8F-ADF3-337F9DA08A67}" srcOrd="1" destOrd="0" presId="urn:microsoft.com/office/officeart/2005/8/layout/vList5"/>
    <dgm:cxn modelId="{DF07C9D6-B8CA-4A91-B647-C71E03497F26}" type="presParOf" srcId="{916267AA-4A39-4ADC-93B7-3D217075F5DD}" destId="{5D24F6F5-F435-4CA3-962D-617FBE852C32}" srcOrd="7" destOrd="0" presId="urn:microsoft.com/office/officeart/2005/8/layout/vList5"/>
    <dgm:cxn modelId="{BF67323C-EF3F-426B-AFB6-1686D04FFC11}" type="presParOf" srcId="{916267AA-4A39-4ADC-93B7-3D217075F5DD}" destId="{0FFBF042-DC3B-4BFE-84BE-A0F638EA582E}" srcOrd="8" destOrd="0" presId="urn:microsoft.com/office/officeart/2005/8/layout/vList5"/>
    <dgm:cxn modelId="{3D8BADC9-62C2-41D5-8D00-AFB28BA491D8}" type="presParOf" srcId="{0FFBF042-DC3B-4BFE-84BE-A0F638EA582E}" destId="{62330F90-1F51-4A61-BBE6-487F684CEE45}" srcOrd="0" destOrd="0" presId="urn:microsoft.com/office/officeart/2005/8/layout/vList5"/>
    <dgm:cxn modelId="{DFC318BA-268C-43A1-8B6A-2AA5889FF090}" type="presParOf" srcId="{0FFBF042-DC3B-4BFE-84BE-A0F638EA582E}" destId="{24446C05-E062-4D4A-97DE-B9D3A2A36125}" srcOrd="1" destOrd="0" presId="urn:microsoft.com/office/officeart/2005/8/layout/vList5"/>
    <dgm:cxn modelId="{A7D71AA4-AA42-495F-897D-4D2019CC0CD4}" type="presParOf" srcId="{916267AA-4A39-4ADC-93B7-3D217075F5DD}" destId="{19E9AEE7-6327-4809-94B1-1D11BF832AF3}" srcOrd="9" destOrd="0" presId="urn:microsoft.com/office/officeart/2005/8/layout/vList5"/>
    <dgm:cxn modelId="{953F3633-647D-49DB-B3CC-598E2F56C64E}" type="presParOf" srcId="{916267AA-4A39-4ADC-93B7-3D217075F5DD}" destId="{4357C8BC-30F8-4B57-8353-BD9FF7A7A4B3}" srcOrd="10" destOrd="0" presId="urn:microsoft.com/office/officeart/2005/8/layout/vList5"/>
    <dgm:cxn modelId="{18765FF0-A698-4693-9EC0-DB306F9F16B5}" type="presParOf" srcId="{4357C8BC-30F8-4B57-8353-BD9FF7A7A4B3}" destId="{40FBDAF8-4327-463F-97FA-CE11B0BED577}" srcOrd="0" destOrd="0" presId="urn:microsoft.com/office/officeart/2005/8/layout/vList5"/>
    <dgm:cxn modelId="{FFE2047E-875B-4975-8C38-CEFF26009BE9}" type="presParOf" srcId="{4357C8BC-30F8-4B57-8353-BD9FF7A7A4B3}" destId="{FEED8412-AF28-42EE-AE5A-655577492216}" srcOrd="1" destOrd="0" presId="urn:microsoft.com/office/officeart/2005/8/layout/vList5"/>
    <dgm:cxn modelId="{B1F1B843-1400-4E42-9BC4-2F69AAAE1FD8}" type="presParOf" srcId="{916267AA-4A39-4ADC-93B7-3D217075F5DD}" destId="{BFA85DA5-BFCF-4D7B-A8C8-97CC7989AFE6}" srcOrd="11" destOrd="0" presId="urn:microsoft.com/office/officeart/2005/8/layout/vList5"/>
    <dgm:cxn modelId="{49043BA0-D9CC-4B1F-B127-88AE5E42CD04}" type="presParOf" srcId="{916267AA-4A39-4ADC-93B7-3D217075F5DD}" destId="{9BBB0AAD-CDF5-48AD-9635-B9B37B034F32}" srcOrd="12" destOrd="0" presId="urn:microsoft.com/office/officeart/2005/8/layout/vList5"/>
    <dgm:cxn modelId="{7CEB322D-422A-4C7C-B485-7446A64E608D}" type="presParOf" srcId="{9BBB0AAD-CDF5-48AD-9635-B9B37B034F32}" destId="{44681B04-C0B3-444F-B19A-03A1110E7D97}" srcOrd="0" destOrd="0" presId="urn:microsoft.com/office/officeart/2005/8/layout/vList5"/>
    <dgm:cxn modelId="{855BE1CF-3DB0-4D4D-B57D-7DAC7D2033D7}" type="presParOf" srcId="{9BBB0AAD-CDF5-48AD-9635-B9B37B034F32}" destId="{9B345DFF-4BAB-4935-8767-79AD9F18DBBE}" srcOrd="1" destOrd="0" presId="urn:microsoft.com/office/officeart/2005/8/layout/vList5"/>
  </dgm:cxnLst>
  <dgm:bg>
    <a:noFill/>
  </dgm:bg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08EDF72-8825-467D-8A7B-D15957B435BE}">
      <dsp:nvSpPr>
        <dsp:cNvPr id="0" name=""/>
        <dsp:cNvSpPr/>
      </dsp:nvSpPr>
      <dsp:spPr>
        <a:xfrm>
          <a:off x="0" y="245873"/>
          <a:ext cx="9148549" cy="559556"/>
        </a:xfrm>
        <a:prstGeom prst="rect">
          <a:avLst/>
        </a:prstGeom>
        <a:solidFill>
          <a:schemeClr val="dk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3600" b="1" kern="1200" dirty="0" smtClean="0">
              <a:cs typeface="Arial" pitchFamily="34" charset="0"/>
            </a:rPr>
            <a:t>Key Activities: Housing Division</a:t>
          </a:r>
          <a:endParaRPr lang="en-US" sz="3600" kern="1200" dirty="0"/>
        </a:p>
      </dsp:txBody>
      <dsp:txXfrm>
        <a:off x="0" y="245873"/>
        <a:ext cx="9148549" cy="559556"/>
      </dsp:txXfrm>
    </dsp:sp>
    <dsp:sp modelId="{A571A0A9-DEE0-4373-8F37-2CFFEA79DB83}">
      <dsp:nvSpPr>
        <dsp:cNvPr id="0" name=""/>
        <dsp:cNvSpPr/>
      </dsp:nvSpPr>
      <dsp:spPr>
        <a:xfrm>
          <a:off x="3355" y="996288"/>
          <a:ext cx="1735454" cy="384218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2400" b="1" kern="1200" dirty="0" smtClean="0">
              <a:solidFill>
                <a:schemeClr val="accent2"/>
              </a:solidFill>
              <a:latin typeface="Univers Condensed" panose="020B0606020202060204" pitchFamily="34" charset="0"/>
            </a:rPr>
            <a:t>Legislations-</a:t>
          </a:r>
          <a:r>
            <a:rPr lang="en-US" altLang="en-US" sz="2400" kern="1200" dirty="0" smtClean="0">
              <a:solidFill>
                <a:schemeClr val="accent2"/>
              </a:solidFill>
            </a:rPr>
            <a:t>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2000" kern="1200" dirty="0" smtClean="0"/>
            <a:t>* Real Estate (Regulation &amp; Development) Act, [RERA]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2000" kern="1200" dirty="0" smtClean="0"/>
            <a:t>* Model Tenancy Act [MTA]</a:t>
          </a:r>
          <a:endParaRPr lang="en-US" sz="2000" kern="1200" dirty="0"/>
        </a:p>
      </dsp:txBody>
      <dsp:txXfrm>
        <a:off x="3355" y="996288"/>
        <a:ext cx="1735454" cy="3842180"/>
      </dsp:txXfrm>
    </dsp:sp>
    <dsp:sp modelId="{D780C859-8272-4FB8-956A-974F0736CACF}">
      <dsp:nvSpPr>
        <dsp:cNvPr id="0" name=""/>
        <dsp:cNvSpPr/>
      </dsp:nvSpPr>
      <dsp:spPr>
        <a:xfrm>
          <a:off x="1738810" y="1009930"/>
          <a:ext cx="2154757" cy="38148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2400" b="1" kern="1200" dirty="0" smtClean="0">
              <a:solidFill>
                <a:schemeClr val="accent2"/>
              </a:solidFill>
              <a:latin typeface="Univers Condensed" panose="020B0606020202060204" pitchFamily="34" charset="0"/>
            </a:rPr>
            <a:t>Administration of Public Sector Undertakings-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2000" b="1" kern="1200" dirty="0" smtClean="0">
              <a:latin typeface="Univers Condensed" panose="020B0606020202060204" pitchFamily="34" charset="0"/>
            </a:rPr>
            <a:t> </a:t>
          </a:r>
          <a:r>
            <a:rPr lang="en-US" altLang="en-US" sz="2000" kern="1200" dirty="0" smtClean="0"/>
            <a:t>Housing and Urban Development Corporation (HUDCO)</a:t>
          </a:r>
          <a:endParaRPr lang="en-US" sz="2000" kern="1200" dirty="0"/>
        </a:p>
      </dsp:txBody>
      <dsp:txXfrm>
        <a:off x="1738810" y="1009930"/>
        <a:ext cx="2154757" cy="3814896"/>
      </dsp:txXfrm>
    </dsp:sp>
    <dsp:sp modelId="{F9C0E282-50B8-46F4-AA66-81E651A3655A}">
      <dsp:nvSpPr>
        <dsp:cNvPr id="0" name=""/>
        <dsp:cNvSpPr/>
      </dsp:nvSpPr>
      <dsp:spPr>
        <a:xfrm>
          <a:off x="3893568" y="1009930"/>
          <a:ext cx="2965683" cy="38148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2400" b="1" kern="1200" dirty="0" smtClean="0">
              <a:solidFill>
                <a:schemeClr val="accent2"/>
              </a:solidFill>
              <a:latin typeface="Univers Condensed" panose="020B0606020202060204" pitchFamily="34" charset="0"/>
            </a:rPr>
            <a:t>Administration of Autonomous bodies: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900" b="1" kern="1200" dirty="0" smtClean="0">
              <a:latin typeface="Univers Condensed" panose="020B0606020202060204" pitchFamily="34" charset="0"/>
            </a:rPr>
            <a:t> </a:t>
          </a:r>
          <a:r>
            <a:rPr lang="en-US" altLang="en-US" sz="1900" kern="1200" dirty="0" smtClean="0"/>
            <a:t>Hindustan Prefab Limited (HPL),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900" kern="1200" dirty="0" smtClean="0"/>
            <a:t>Central Government Employees Welfare Housing Organization (CGEWHO),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900" kern="1200" dirty="0" smtClean="0">
              <a:solidFill>
                <a:schemeClr val="accent2">
                  <a:lumMod val="75000"/>
                </a:schemeClr>
              </a:solidFill>
            </a:rPr>
            <a:t>National Cooperative Housing Federation of India (NCHF)</a:t>
          </a:r>
          <a:endParaRPr lang="en-US" sz="1900" kern="1200" dirty="0">
            <a:solidFill>
              <a:schemeClr val="accent2">
                <a:lumMod val="75000"/>
              </a:schemeClr>
            </a:solidFill>
          </a:endParaRPr>
        </a:p>
      </dsp:txBody>
      <dsp:txXfrm>
        <a:off x="3893568" y="1009930"/>
        <a:ext cx="2965683" cy="3814896"/>
      </dsp:txXfrm>
    </dsp:sp>
    <dsp:sp modelId="{573891A9-13E7-4C24-BE65-7819C23F528D}">
      <dsp:nvSpPr>
        <dsp:cNvPr id="0" name=""/>
        <dsp:cNvSpPr/>
      </dsp:nvSpPr>
      <dsp:spPr>
        <a:xfrm>
          <a:off x="6859252" y="1009930"/>
          <a:ext cx="2285940" cy="38148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2400" b="1" kern="1200" dirty="0" smtClean="0">
              <a:solidFill>
                <a:schemeClr val="accent2"/>
              </a:solidFill>
              <a:latin typeface="Univers Condensed" panose="020B0606020202060204" pitchFamily="34" charset="0"/>
            </a:rPr>
            <a:t>International Relations-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altLang="en-US" sz="1800" kern="1200" dirty="0" smtClean="0"/>
            <a:t>UN HABITAT,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altLang="en-US" sz="1800" kern="1200" dirty="0" smtClean="0"/>
            <a:t>Asia Pacific Ministerial Conference on Housing and Urban Development (APMCHUD)</a:t>
          </a:r>
          <a:endParaRPr lang="en-US" sz="1800" kern="1200" dirty="0"/>
        </a:p>
      </dsp:txBody>
      <dsp:txXfrm>
        <a:off x="6859252" y="1009930"/>
        <a:ext cx="2285940" cy="3814896"/>
      </dsp:txXfrm>
    </dsp:sp>
    <dsp:sp modelId="{221F4705-E0D5-4199-8ACB-F9A88CBEFEC6}">
      <dsp:nvSpPr>
        <dsp:cNvPr id="0" name=""/>
        <dsp:cNvSpPr/>
      </dsp:nvSpPr>
      <dsp:spPr>
        <a:xfrm>
          <a:off x="0" y="4537581"/>
          <a:ext cx="9148549" cy="360045"/>
        </a:xfrm>
        <a:prstGeom prst="rect">
          <a:avLst/>
        </a:prstGeom>
        <a:solidFill>
          <a:schemeClr val="dk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AF496D8-89A4-49F1-B591-96EE4F6C6E14}">
      <dsp:nvSpPr>
        <dsp:cNvPr id="0" name=""/>
        <dsp:cNvSpPr/>
      </dsp:nvSpPr>
      <dsp:spPr>
        <a:xfrm rot="5400000">
          <a:off x="6140178" y="-3031735"/>
          <a:ext cx="466246" cy="6647006"/>
        </a:xfrm>
        <a:prstGeom prst="round2SameRect">
          <a:avLst/>
        </a:prstGeom>
        <a:solidFill>
          <a:srgbClr val="9BBB59">
            <a:tint val="40000"/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9BBB59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200" b="1" kern="1200" dirty="0">
              <a:latin typeface="Segoe UI" panose="020B0502040204020203" pitchFamily="34" charset="0"/>
              <a:cs typeface="Segoe UI" panose="020B0502040204020203" pitchFamily="34" charset="0"/>
            </a:rPr>
            <a:t>Infrastructure Status to Affordable Housing</a:t>
          </a:r>
          <a:endParaRPr lang="en-US" sz="12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140178" y="-3031735"/>
        <a:ext cx="466246" cy="6647006"/>
      </dsp:txXfrm>
    </dsp:sp>
    <dsp:sp modelId="{0F827D5D-7F21-4BEF-A102-47C64E91352C}">
      <dsp:nvSpPr>
        <dsp:cNvPr id="0" name=""/>
        <dsp:cNvSpPr/>
      </dsp:nvSpPr>
      <dsp:spPr>
        <a:xfrm>
          <a:off x="689142" y="363"/>
          <a:ext cx="2360655" cy="582807"/>
        </a:xfrm>
        <a:prstGeom prst="roundRect">
          <a:avLst/>
        </a:prstGeom>
        <a:gradFill rotWithShape="0">
          <a:gsLst>
            <a:gs pos="0">
              <a:srgbClr val="9BBB59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9BBB59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9BBB59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frastructure </a:t>
          </a:r>
          <a:br>
            <a:rPr lang="en-US" sz="20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20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tatus</a:t>
          </a:r>
        </a:p>
      </dsp:txBody>
      <dsp:txXfrm>
        <a:off x="689142" y="363"/>
        <a:ext cx="2360655" cy="582807"/>
      </dsp:txXfrm>
    </dsp:sp>
    <dsp:sp modelId="{CA9FB3D2-9B4E-4889-946B-F6D475ACE6C1}">
      <dsp:nvSpPr>
        <dsp:cNvPr id="0" name=""/>
        <dsp:cNvSpPr/>
      </dsp:nvSpPr>
      <dsp:spPr>
        <a:xfrm rot="5400000">
          <a:off x="6140178" y="-2419787"/>
          <a:ext cx="466246" cy="6647006"/>
        </a:xfrm>
        <a:prstGeom prst="round2SameRect">
          <a:avLst/>
        </a:prstGeom>
        <a:solidFill>
          <a:srgbClr val="F39C12">
            <a:tint val="40000"/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F39C12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200" b="1" kern="1200" dirty="0">
              <a:latin typeface="Segoe UI" panose="020B0502040204020203" pitchFamily="34" charset="0"/>
              <a:cs typeface="Segoe UI" panose="020B0502040204020203" pitchFamily="34" charset="0"/>
            </a:rPr>
            <a:t>National Urban Housing Fund (NUHF) - EBR of Rs. 60,000 for funding PMAY(U) projects</a:t>
          </a:r>
          <a:endParaRPr lang="en-US" sz="12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140178" y="-2419787"/>
        <a:ext cx="466246" cy="6647006"/>
      </dsp:txXfrm>
    </dsp:sp>
    <dsp:sp modelId="{05987F72-554B-4E59-8821-222F2010FE24}">
      <dsp:nvSpPr>
        <dsp:cNvPr id="0" name=""/>
        <dsp:cNvSpPr/>
      </dsp:nvSpPr>
      <dsp:spPr>
        <a:xfrm>
          <a:off x="689142" y="612311"/>
          <a:ext cx="2360655" cy="582807"/>
        </a:xfrm>
        <a:prstGeom prst="roundRect">
          <a:avLst/>
        </a:prstGeom>
        <a:gradFill rotWithShape="0">
          <a:gsLst>
            <a:gs pos="0">
              <a:srgbClr val="F39C1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39C1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39C1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NUHF</a:t>
          </a:r>
          <a:endParaRPr lang="en-US" sz="18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>
        <a:off x="689142" y="612311"/>
        <a:ext cx="2360655" cy="582807"/>
      </dsp:txXfrm>
    </dsp:sp>
    <dsp:sp modelId="{D472FB88-F4A6-4733-BBD6-FCCD74C804B9}">
      <dsp:nvSpPr>
        <dsp:cNvPr id="0" name=""/>
        <dsp:cNvSpPr/>
      </dsp:nvSpPr>
      <dsp:spPr>
        <a:xfrm rot="5400000">
          <a:off x="6140178" y="-1807839"/>
          <a:ext cx="466246" cy="6647006"/>
        </a:xfrm>
        <a:prstGeom prst="round2SameRect">
          <a:avLst/>
        </a:prstGeom>
        <a:solidFill>
          <a:srgbClr val="C0392B">
            <a:tint val="40000"/>
            <a:alpha val="90000"/>
            <a:hueOff val="0"/>
            <a:satOff val="0"/>
            <a:lumOff val="0"/>
            <a:alphaOff val="0"/>
          </a:srgbClr>
        </a:solidFill>
        <a:ln w="6350" cap="flat" cmpd="sng" algn="ctr">
          <a:solidFill>
            <a:srgbClr val="C0392B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200" b="1" kern="1200" dirty="0">
              <a:latin typeface="Segoe UI" panose="020B0502040204020203" pitchFamily="34" charset="0"/>
              <a:cs typeface="Segoe UI" panose="020B0502040204020203" pitchFamily="34" charset="0"/>
            </a:rPr>
            <a:t>8% to 1% in Affordable Housing </a:t>
          </a:r>
          <a:r>
            <a:rPr lang="en-IN" sz="1200" b="1" kern="1200" dirty="0" smtClean="0">
              <a:latin typeface="Segoe UI" panose="020B0502040204020203" pitchFamily="34" charset="0"/>
              <a:cs typeface="Segoe UI" panose="020B0502040204020203" pitchFamily="34" charset="0"/>
            </a:rPr>
            <a:t>projects (without ITC) </a:t>
          </a:r>
          <a:endParaRPr lang="en-US" sz="12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200" b="1" kern="1200" dirty="0">
              <a:latin typeface="Segoe UI" panose="020B0502040204020203" pitchFamily="34" charset="0"/>
              <a:cs typeface="Segoe UI" panose="020B0502040204020203" pitchFamily="34" charset="0"/>
            </a:rPr>
            <a:t>12% to 5% in other housing </a:t>
          </a:r>
          <a:r>
            <a:rPr lang="en-IN" sz="1200" b="1" kern="1200" dirty="0" smtClean="0">
              <a:latin typeface="Segoe UI" panose="020B0502040204020203" pitchFamily="34" charset="0"/>
              <a:cs typeface="Segoe UI" panose="020B0502040204020203" pitchFamily="34" charset="0"/>
            </a:rPr>
            <a:t>projects (without ITC)</a:t>
          </a:r>
          <a:endParaRPr lang="en-US" sz="12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140178" y="-1807839"/>
        <a:ext cx="466246" cy="6647006"/>
      </dsp:txXfrm>
    </dsp:sp>
    <dsp:sp modelId="{B77ED579-1174-4833-A02C-24E1C924A899}">
      <dsp:nvSpPr>
        <dsp:cNvPr id="0" name=""/>
        <dsp:cNvSpPr/>
      </dsp:nvSpPr>
      <dsp:spPr>
        <a:xfrm>
          <a:off x="689142" y="1224259"/>
          <a:ext cx="2360655" cy="582807"/>
        </a:xfrm>
        <a:prstGeom prst="roundRect">
          <a:avLst/>
        </a:prstGeom>
        <a:gradFill rotWithShape="0">
          <a:gsLst>
            <a:gs pos="0">
              <a:srgbClr val="C0392B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C0392B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C0392B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Reduction of GST </a:t>
          </a:r>
          <a:endParaRPr lang="en-US" sz="18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>
        <a:off x="689142" y="1224259"/>
        <a:ext cx="2360655" cy="582807"/>
      </dsp:txXfrm>
    </dsp:sp>
    <dsp:sp modelId="{B600E709-DF12-4A8F-ADF3-337F9DA08A67}">
      <dsp:nvSpPr>
        <dsp:cNvPr id="0" name=""/>
        <dsp:cNvSpPr/>
      </dsp:nvSpPr>
      <dsp:spPr>
        <a:xfrm rot="5400000">
          <a:off x="6140178" y="-1195892"/>
          <a:ext cx="466246" cy="6647006"/>
        </a:xfrm>
        <a:prstGeom prst="round2SameRect">
          <a:avLst/>
        </a:prstGeom>
        <a:solidFill>
          <a:schemeClr val="tx2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2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Affordable Housing Fund (AHF) with initial corpus of Rs. 10,000 Cr. to reduce interest burden on affordable </a:t>
          </a:r>
          <a:r>
            <a:rPr lang="en-IN" sz="1200" b="1" kern="12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housing</a:t>
          </a:r>
          <a:endParaRPr lang="en-US" sz="12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140178" y="-1195892"/>
        <a:ext cx="466246" cy="6647006"/>
      </dsp:txXfrm>
    </dsp:sp>
    <dsp:sp modelId="{94569F91-208B-4BDC-8751-A9895D45EAF8}">
      <dsp:nvSpPr>
        <dsp:cNvPr id="0" name=""/>
        <dsp:cNvSpPr/>
      </dsp:nvSpPr>
      <dsp:spPr>
        <a:xfrm>
          <a:off x="689142" y="1836207"/>
          <a:ext cx="2360655" cy="582807"/>
        </a:xfrm>
        <a:prstGeom prst="roundRect">
          <a:avLst/>
        </a:prstGeom>
        <a:gradFill rotWithShape="0">
          <a:gsLst>
            <a:gs pos="0">
              <a:srgbClr val="2C3F50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2C3F50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2C3F50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AHF</a:t>
          </a:r>
          <a:endParaRPr lang="en-US" sz="18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>
        <a:off x="689142" y="1836207"/>
        <a:ext cx="2360655" cy="582807"/>
      </dsp:txXfrm>
    </dsp:sp>
    <dsp:sp modelId="{24446C05-E062-4D4A-97DE-B9D3A2A36125}">
      <dsp:nvSpPr>
        <dsp:cNvPr id="0" name=""/>
        <dsp:cNvSpPr/>
      </dsp:nvSpPr>
      <dsp:spPr>
        <a:xfrm rot="5400000">
          <a:off x="6140178" y="-583944"/>
          <a:ext cx="466246" cy="6647006"/>
        </a:xfrm>
        <a:prstGeom prst="round2SameRect">
          <a:avLst/>
        </a:prstGeom>
        <a:solidFill>
          <a:schemeClr val="accent6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Extension of benefits of Section 80 IBA &amp; 80 EEA of Income Tax Act extended for one more year, till 31st March 2022</a:t>
          </a:r>
          <a:r>
            <a:rPr lang="en-IN" sz="1200" b="1" kern="12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 </a:t>
          </a:r>
          <a:endParaRPr lang="en-US" sz="12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140178" y="-583944"/>
        <a:ext cx="466246" cy="6647006"/>
      </dsp:txXfrm>
    </dsp:sp>
    <dsp:sp modelId="{62330F90-1F51-4A61-BBE6-487F684CEE45}">
      <dsp:nvSpPr>
        <dsp:cNvPr id="0" name=""/>
        <dsp:cNvSpPr/>
      </dsp:nvSpPr>
      <dsp:spPr>
        <a:xfrm>
          <a:off x="689142" y="2448155"/>
          <a:ext cx="2360655" cy="582807"/>
        </a:xfrm>
        <a:prstGeom prst="roundRect">
          <a:avLst/>
        </a:prstGeom>
        <a:solidFill>
          <a:schemeClr val="accent6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Income Tax Benefits </a:t>
          </a:r>
          <a:endParaRPr lang="en-US" sz="18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>
        <a:off x="689142" y="2448155"/>
        <a:ext cx="2360655" cy="582807"/>
      </dsp:txXfrm>
    </dsp:sp>
    <dsp:sp modelId="{FEED8412-AF28-42EE-AE5A-655577492216}">
      <dsp:nvSpPr>
        <dsp:cNvPr id="0" name=""/>
        <dsp:cNvSpPr/>
      </dsp:nvSpPr>
      <dsp:spPr>
        <a:xfrm rot="5400000">
          <a:off x="6140178" y="28003"/>
          <a:ext cx="466246" cy="6647006"/>
        </a:xfrm>
        <a:prstGeom prst="round2SameRect">
          <a:avLst/>
        </a:prstGeom>
        <a:solidFill>
          <a:srgbClr val="FFC000">
            <a:alpha val="90000"/>
          </a:srgb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200" b="1" kern="1200" dirty="0">
              <a:latin typeface="Segoe UI" panose="020B0502040204020203" pitchFamily="34" charset="0"/>
              <a:cs typeface="Segoe UI" panose="020B0502040204020203" pitchFamily="34" charset="0"/>
            </a:rPr>
            <a:t>Alternate Investment Fund (AIF</a:t>
          </a:r>
          <a:r>
            <a:rPr lang="en-IN" sz="1200" b="1" kern="1200" dirty="0" smtClean="0">
              <a:latin typeface="Segoe UI" panose="020B0502040204020203" pitchFamily="34" charset="0"/>
              <a:cs typeface="Segoe UI" panose="020B0502040204020203" pitchFamily="34" charset="0"/>
            </a:rPr>
            <a:t>)- SWAMIH fund </a:t>
          </a:r>
          <a:r>
            <a:rPr lang="en-IN" sz="1200" b="1" kern="1200" dirty="0">
              <a:latin typeface="Segoe UI" panose="020B0502040204020203" pitchFamily="34" charset="0"/>
              <a:cs typeface="Segoe UI" panose="020B0502040204020203" pitchFamily="34" charset="0"/>
            </a:rPr>
            <a:t>of INR 25,000 Cr. for last mile funding of stalled </a:t>
          </a:r>
          <a:r>
            <a:rPr lang="en-IN" sz="1200" b="1" kern="1200" dirty="0" smtClean="0">
              <a:latin typeface="Segoe UI" panose="020B0502040204020203" pitchFamily="34" charset="0"/>
              <a:cs typeface="Segoe UI" panose="020B0502040204020203" pitchFamily="34" charset="0"/>
            </a:rPr>
            <a:t>housing </a:t>
          </a:r>
          <a:r>
            <a:rPr lang="en-IN" sz="1200" b="1" kern="1200" dirty="0">
              <a:latin typeface="Segoe UI" panose="020B0502040204020203" pitchFamily="34" charset="0"/>
              <a:cs typeface="Segoe UI" panose="020B0502040204020203" pitchFamily="34" charset="0"/>
            </a:rPr>
            <a:t>projects</a:t>
          </a:r>
          <a:endParaRPr lang="en-US" sz="12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140178" y="28003"/>
        <a:ext cx="466246" cy="6647006"/>
      </dsp:txXfrm>
    </dsp:sp>
    <dsp:sp modelId="{40FBDAF8-4327-463F-97FA-CE11B0BED577}">
      <dsp:nvSpPr>
        <dsp:cNvPr id="0" name=""/>
        <dsp:cNvSpPr/>
      </dsp:nvSpPr>
      <dsp:spPr>
        <a:xfrm>
          <a:off x="689142" y="3060103"/>
          <a:ext cx="2360655" cy="582807"/>
        </a:xfrm>
        <a:prstGeom prst="roundRect">
          <a:avLst/>
        </a:prstGeom>
        <a:solidFill>
          <a:srgbClr val="FFC000">
            <a:alpha val="90000"/>
          </a:srgb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AIF</a:t>
          </a:r>
          <a:endParaRPr lang="en-US" sz="18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>
        <a:off x="689142" y="3060103"/>
        <a:ext cx="2360655" cy="582807"/>
      </dsp:txXfrm>
    </dsp:sp>
    <dsp:sp modelId="{9B345DFF-4BAB-4935-8767-79AD9F18DBBE}">
      <dsp:nvSpPr>
        <dsp:cNvPr id="0" name=""/>
        <dsp:cNvSpPr/>
      </dsp:nvSpPr>
      <dsp:spPr>
        <a:xfrm rot="5400000">
          <a:off x="6140178" y="639951"/>
          <a:ext cx="466246" cy="6647006"/>
        </a:xfrm>
        <a:prstGeom prst="round2SameRect">
          <a:avLst/>
        </a:prstGeom>
        <a:solidFill>
          <a:schemeClr val="accent2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just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12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Major jump in ease of doing business rank in Word Bank’s </a:t>
          </a:r>
          <a:r>
            <a:rPr lang="en-IN" sz="1200" b="1" i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Doing Business </a:t>
          </a:r>
          <a:r>
            <a:rPr lang="en-IN" sz="1200" b="1" i="1" kern="12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Report from </a:t>
          </a:r>
          <a:r>
            <a:rPr lang="en-IN" sz="12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142</a:t>
          </a:r>
          <a:r>
            <a:rPr lang="en-IN" sz="1200" b="1" kern="1200" baseline="30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nd</a:t>
          </a:r>
          <a:r>
            <a:rPr lang="en-IN" sz="12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 to 63</a:t>
          </a:r>
          <a:r>
            <a:rPr lang="en-IN" sz="1200" b="1" kern="1200" baseline="30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rd</a:t>
          </a:r>
          <a:r>
            <a:rPr lang="en-IN" sz="12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. In construction permit, India climbed from </a:t>
          </a:r>
          <a:r>
            <a:rPr lang="en-IN" sz="1200" b="1" kern="12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52</a:t>
          </a:r>
          <a:r>
            <a:rPr lang="en-IN" sz="1200" b="1" kern="1200" baseline="3000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th  </a:t>
          </a:r>
          <a:r>
            <a:rPr lang="en-IN" sz="12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to 27</a:t>
          </a:r>
          <a:r>
            <a:rPr lang="en-IN" sz="1200" b="1" kern="1200" baseline="30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th</a:t>
          </a:r>
          <a:r>
            <a:rPr lang="en-IN" sz="12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 place</a:t>
          </a:r>
          <a:endParaRPr lang="en-US" sz="12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140178" y="639951"/>
        <a:ext cx="466246" cy="6647006"/>
      </dsp:txXfrm>
    </dsp:sp>
    <dsp:sp modelId="{44681B04-C0B3-444F-B19A-03A1110E7D97}">
      <dsp:nvSpPr>
        <dsp:cNvPr id="0" name=""/>
        <dsp:cNvSpPr/>
      </dsp:nvSpPr>
      <dsp:spPr>
        <a:xfrm>
          <a:off x="689142" y="3672050"/>
          <a:ext cx="2360655" cy="582807"/>
        </a:xfrm>
        <a:prstGeom prst="roundRect">
          <a:avLst/>
        </a:prstGeom>
        <a:solidFill>
          <a:schemeClr val="accent2">
            <a:lumMod val="75000"/>
            <a:alpha val="90000"/>
          </a:schemeClr>
        </a:solidFill>
        <a:ln w="6350" cap="flat" cmpd="sng" algn="ctr">
          <a:solidFill>
            <a:srgbClr val="2C3F50">
              <a:tint val="40000"/>
              <a:alpha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err="1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EoDB</a:t>
          </a:r>
          <a:endParaRPr lang="en-US" sz="18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sp:txBody>
      <dsp:txXfrm>
        <a:off x="689142" y="3672050"/>
        <a:ext cx="2360655" cy="5828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3038604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159" y="3"/>
            <a:ext cx="3038604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B9FF46-73CB-413A-8DE7-E640785D920E}" type="datetimeFigureOut">
              <a:rPr lang="en-US" smtClean="0"/>
              <a:pPr/>
              <a:t>7/2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716" y="4415533"/>
            <a:ext cx="5608975" cy="41836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573"/>
            <a:ext cx="3038604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322F9D-A634-45EC-9196-09F50663B127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65325" y="696913"/>
            <a:ext cx="2486025" cy="1398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IN" b="1" u="sng" baseline="0" dirty="0" smtClean="0"/>
              <a:t>NOTES</a:t>
            </a:r>
            <a:r>
              <a:rPr lang="en-IN" b="1" u="none" baseline="0" dirty="0" smtClean="0"/>
              <a:t>: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N" sz="1200" b="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N" sz="1200" b="0" dirty="0" smtClean="0">
                <a:solidFill>
                  <a:schemeClr val="accent1">
                    <a:lumMod val="75000"/>
                  </a:schemeClr>
                </a:solidFill>
              </a:rPr>
              <a:t>Urban Population Growth is as per </a:t>
            </a:r>
            <a:r>
              <a:rPr lang="en-IN" sz="1200" b="1" i="0" dirty="0" smtClean="0"/>
              <a:t>UN report on World Urbanisation Prospects (2018)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IN" dirty="0" smtClean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IN" dirty="0" smtClean="0"/>
              <a:t>Real Estate market size and</a:t>
            </a:r>
            <a:r>
              <a:rPr lang="en-IN" baseline="0" dirty="0" smtClean="0"/>
              <a:t> </a:t>
            </a:r>
            <a:r>
              <a:rPr lang="en-IN" dirty="0" smtClean="0"/>
              <a:t>contribution to GDP as per </a:t>
            </a:r>
            <a:r>
              <a:rPr lang="en-IN" b="1" dirty="0" smtClean="0"/>
              <a:t>India Brand Equity Foundation (IBEF) report, March 2019: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IN" b="1" dirty="0" smtClean="0"/>
              <a:t>US $ 120 Billion = 9.12 </a:t>
            </a:r>
            <a:r>
              <a:rPr lang="en-IN" b="1" dirty="0" err="1" smtClean="0"/>
              <a:t>Lakh</a:t>
            </a:r>
            <a:r>
              <a:rPr lang="en-IN" b="1" baseline="0" dirty="0" smtClean="0"/>
              <a:t> Cr (considering $ 1 US = 76 INR)</a:t>
            </a:r>
          </a:p>
          <a:p>
            <a:pPr marL="628650" lvl="1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IN" b="1" baseline="0" dirty="0" smtClean="0"/>
              <a:t>US $ 1 trillion	= 76 </a:t>
            </a:r>
            <a:r>
              <a:rPr lang="en-IN" b="1" baseline="0" dirty="0" err="1" smtClean="0"/>
              <a:t>Lakh</a:t>
            </a:r>
            <a:r>
              <a:rPr lang="en-IN" b="1" baseline="0" dirty="0" smtClean="0"/>
              <a:t> Cr</a:t>
            </a:r>
            <a:endParaRPr lang="en-IN" b="1" dirty="0" smtClean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IN" b="0" dirty="0" smtClean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IN" b="0" dirty="0" smtClean="0"/>
              <a:t>Employment</a:t>
            </a:r>
            <a:r>
              <a:rPr lang="en-IN" b="0" baseline="0" dirty="0" smtClean="0"/>
              <a:t> in Real Estate sector as per </a:t>
            </a:r>
            <a:r>
              <a:rPr lang="en-IN" b="1" baseline="0" dirty="0" smtClean="0"/>
              <a:t>India Economic Survey 2018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None/>
            </a:pPr>
            <a:endParaRPr lang="en-IN" b="1" baseline="0" dirty="0" smtClean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 per 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iodic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bour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orce Survey (2017-18)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by 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tional Statistical Office (NSO),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here are </a:t>
            </a:r>
            <a:r>
              <a:rPr lang="en-US" sz="1200" b="1" kern="1200" dirty="0" smtClean="0">
                <a:solidFill>
                  <a:srgbClr val="FFFF00"/>
                </a:solidFill>
                <a:latin typeface="+mn-lt"/>
                <a:ea typeface="+mn-ea"/>
                <a:cs typeface="+mn-cs"/>
              </a:rPr>
              <a:t>54.60 million</a:t>
            </a:r>
            <a:r>
              <a:rPr lang="en-US" sz="1200" kern="1200" dirty="0" smtClean="0">
                <a:solidFill>
                  <a:srgbClr val="FFFF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truction sector workers in India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IN" b="0" baseline="0" dirty="0" smtClean="0"/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IN" b="0" baseline="0" dirty="0" smtClean="0"/>
              <a:t>Top 4 sectors in terms of FDI inflow are </a:t>
            </a:r>
            <a:r>
              <a:rPr lang="en-IN" b="1" baseline="0" dirty="0" smtClean="0"/>
              <a:t>Service, Telecommunication, Computer Software &amp; Hardware and Trad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BA6711-B5D8-40CD-8F2B-F761A92AD05D}" type="slidenum">
              <a:rPr lang="en-IN" smtClean="0"/>
              <a:pPr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9229940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141" marR="0" lvl="0" indent="-171141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 dirty="0">
              <a:latin typeface="Century Gothic" panose="020B0502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F9A1C6-A087-437C-9EA0-61C64B5DC1EA}" type="slidenum">
              <a:rPr lang="en-IN" smtClean="0"/>
              <a:pPr/>
              <a:t>7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25039459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141" marR="0" lvl="0" indent="-171141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 dirty="0">
              <a:latin typeface="Century Gothic" panose="020B0502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F9A1C6-A087-437C-9EA0-61C64B5DC1EA}" type="slidenum">
              <a:rPr lang="en-IN" smtClean="0"/>
              <a:pPr/>
              <a:t>8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25039459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IN" b="1" dirty="0" smtClean="0"/>
              <a:t>SWAMIH:</a:t>
            </a:r>
          </a:p>
          <a:p>
            <a:pPr algn="just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give relief to homebuyers of stalled projects, a </a:t>
            </a:r>
            <a:r>
              <a:rPr lang="en-GB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ecial Window for Affordable and Mid-Income Housing Fund (SWAMIH) Investment Fund has been established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provide last mile funding for projects that are net-worth positive and registered under RERA, including those projects that have been declared as Non-Performing Assets (NPAs) or are pending proceedings before the National Company Law Tribunal (NCLT) under IBC. </a:t>
            </a:r>
          </a:p>
          <a:p>
            <a:pPr algn="just"/>
            <a:endParaRPr lang="en-IN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BICAP Ventures Limited shall be engaged to be the Investment Manager. 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just"/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IN" b="1" dirty="0" smtClean="0"/>
          </a:p>
          <a:p>
            <a:r>
              <a:rPr lang="en-IN" b="1" dirty="0" smtClean="0"/>
              <a:t>As per update received from DEA: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s per industry estimates, in the stalled category, there are about 1509 housing projects comprising of approximately 4.58 </a:t>
            </a:r>
            <a:r>
              <a:rPr lang="en-US" dirty="0" err="1" smtClean="0"/>
              <a:t>lakh</a:t>
            </a:r>
            <a:r>
              <a:rPr lang="en-US" dirty="0" smtClean="0"/>
              <a:t> housing units. </a:t>
            </a:r>
          </a:p>
          <a:p>
            <a:endParaRPr lang="en-IN" b="1" dirty="0" smtClean="0"/>
          </a:p>
          <a:p>
            <a:pPr marL="800100" lvl="1" indent="-3429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/>
              <a:buChar char="Ø"/>
            </a:pPr>
            <a:r>
              <a:rPr lang="en-GB" sz="2200" dirty="0" smtClean="0"/>
              <a:t>185 deals aggregating to &gt; </a:t>
            </a:r>
            <a:r>
              <a:rPr lang="en-US" sz="2200" b="1" dirty="0" smtClean="0"/>
              <a:t>₹</a:t>
            </a:r>
            <a:r>
              <a:rPr lang="en-GB" sz="2200" b="1" dirty="0" smtClean="0"/>
              <a:t> 17,121 Cr approved</a:t>
            </a:r>
          </a:p>
          <a:p>
            <a:pPr marL="800100" lvl="1" indent="-3429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/>
              <a:buChar char="Ø"/>
            </a:pPr>
            <a:r>
              <a:rPr lang="en-GB" sz="2200" dirty="0" smtClean="0"/>
              <a:t>benefiting ~ </a:t>
            </a:r>
            <a:r>
              <a:rPr lang="en-GB" sz="2200" b="1" dirty="0" smtClean="0"/>
              <a:t>1,09,478 homebuyers</a:t>
            </a:r>
          </a:p>
          <a:p>
            <a:pPr marL="800100" lvl="1" indent="-342900" algn="just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/>
              <a:buChar char="Ø"/>
            </a:pPr>
            <a:r>
              <a:rPr lang="en-GB" sz="2200" dirty="0" smtClean="0"/>
              <a:t>unlock projects worth ~ </a:t>
            </a:r>
            <a:r>
              <a:rPr lang="en-US" sz="2200" b="1" dirty="0" smtClean="0"/>
              <a:t>₹ </a:t>
            </a:r>
            <a:r>
              <a:rPr lang="en-GB" sz="2200" b="1" dirty="0" smtClean="0"/>
              <a:t>51,115 Cr</a:t>
            </a:r>
          </a:p>
          <a:p>
            <a:pPr marL="285750" indent="-285750" algn="just">
              <a:spcAft>
                <a:spcPts val="400"/>
              </a:spcAft>
              <a:buFont typeface="Arial" panose="020B0604020202020204" pitchFamily="34" charset="0"/>
              <a:buNone/>
            </a:pPr>
            <a:endParaRPr lang="en-IN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322F9D-A634-45EC-9196-09F50663B127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965325" y="696913"/>
            <a:ext cx="2486025" cy="1398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DE16BB-A78E-4EB1-BD59-F496BC1AF9EF}" type="slidenum">
              <a:rPr lang="en-IN" smtClean="0"/>
              <a:pPr/>
              <a:t>11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702758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000"/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8099967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825762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2339275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2157430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38962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9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688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558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19481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3377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2727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11700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4574643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31709898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273845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1" y="1260872"/>
            <a:ext cx="3868340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1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949709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7851359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30581717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1543050"/>
            <a:ext cx="2949178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626" indent="0">
              <a:buNone/>
              <a:defRPr sz="1200"/>
            </a:lvl2pPr>
            <a:lvl3pPr marL="779252" indent="0">
              <a:buNone/>
              <a:defRPr sz="1000"/>
            </a:lvl3pPr>
            <a:lvl4pPr marL="1168878" indent="0">
              <a:buNone/>
              <a:defRPr sz="900"/>
            </a:lvl4pPr>
            <a:lvl5pPr marL="1558503" indent="0">
              <a:buNone/>
              <a:defRPr sz="900"/>
            </a:lvl5pPr>
            <a:lvl6pPr marL="1948129" indent="0">
              <a:buNone/>
              <a:defRPr sz="900"/>
            </a:lvl6pPr>
            <a:lvl7pPr marL="2337755" indent="0">
              <a:buNone/>
              <a:defRPr sz="900"/>
            </a:lvl7pPr>
            <a:lvl8pPr marL="2727381" indent="0">
              <a:buNone/>
              <a:defRPr sz="900"/>
            </a:lvl8pPr>
            <a:lvl9pPr marL="3117007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1997117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1543050"/>
            <a:ext cx="2949178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626" indent="0">
              <a:buNone/>
              <a:defRPr sz="1200"/>
            </a:lvl2pPr>
            <a:lvl3pPr marL="779252" indent="0">
              <a:buNone/>
              <a:defRPr sz="1000"/>
            </a:lvl3pPr>
            <a:lvl4pPr marL="1168878" indent="0">
              <a:buNone/>
              <a:defRPr sz="900"/>
            </a:lvl4pPr>
            <a:lvl5pPr marL="1558503" indent="0">
              <a:buNone/>
              <a:defRPr sz="900"/>
            </a:lvl5pPr>
            <a:lvl6pPr marL="1948129" indent="0">
              <a:buNone/>
              <a:defRPr sz="900"/>
            </a:lvl6pPr>
            <a:lvl7pPr marL="2337755" indent="0">
              <a:buNone/>
              <a:defRPr sz="900"/>
            </a:lvl7pPr>
            <a:lvl8pPr marL="2727381" indent="0">
              <a:buNone/>
              <a:defRPr sz="900"/>
            </a:lvl8pPr>
            <a:lvl9pPr marL="3117007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584690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273845"/>
            <a:ext cx="7886700" cy="994172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horz" lIns="77925" tIns="38963" rIns="77925" bIns="3896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B06EC2-DC55-4614-9BEF-8F936E41BB92}" type="datetimeFigureOut">
              <a:rPr lang="en-IN" smtClean="0"/>
              <a:pPr/>
              <a:t>28-07-2021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4767264"/>
            <a:ext cx="30861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15DD57-EB0C-45F8-8465-B87D2A098A1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="" xmlns:p14="http://schemas.microsoft.com/office/powerpoint/2010/main" val="2388993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779252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813" indent="-194813" algn="l" defTabSz="779252" rtl="0" eaLnBrk="1" latinLnBrk="0" hangingPunct="1">
        <a:lnSpc>
          <a:spcPct val="90000"/>
        </a:lnSpc>
        <a:spcBef>
          <a:spcPts val="85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4439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3.jpeg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puneet.tripathi\Desktop\housing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1196752"/>
            <a:ext cx="9144000" cy="3946747"/>
          </a:xfrm>
          <a:prstGeom prst="rect">
            <a:avLst/>
          </a:prstGeom>
          <a:noFill/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/>
          <a:srcRect l="33017" t="29788" r="26586" b="38748"/>
          <a:stretch/>
        </p:blipFill>
        <p:spPr>
          <a:xfrm>
            <a:off x="3026980" y="1"/>
            <a:ext cx="2837792" cy="106452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2138" y="1719630"/>
            <a:ext cx="82978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IN" sz="20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ysClr val="windowText" lastClr="00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718412" y="4039737"/>
            <a:ext cx="3425587" cy="10919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10" name="Group 9"/>
          <p:cNvGrpSpPr/>
          <p:nvPr/>
        </p:nvGrpSpPr>
        <p:grpSpPr>
          <a:xfrm>
            <a:off x="423074" y="2156359"/>
            <a:ext cx="8065828" cy="2063642"/>
            <a:chOff x="2014601" y="2156359"/>
            <a:chExt cx="8858935" cy="2063642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FBE82AB0-A51F-4D32-9AA2-E7BF417B55A2}"/>
                </a:ext>
              </a:extLst>
            </p:cNvPr>
            <p:cNvSpPr txBox="1"/>
            <p:nvPr/>
          </p:nvSpPr>
          <p:spPr>
            <a:xfrm>
              <a:off x="2014601" y="2156359"/>
              <a:ext cx="8792919" cy="2063642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IN" sz="8600" b="1" dirty="0" smtClean="0">
                  <a:solidFill>
                    <a:schemeClr val="accent2">
                      <a:lumMod val="50000"/>
                    </a:schemeClr>
                  </a:solidFill>
                  <a:latin typeface="Univers Condensed" panose="020B0606020202060204" pitchFamily="34" charset="0"/>
                </a:rPr>
                <a:t>H</a:t>
              </a:r>
              <a:r>
                <a:rPr lang="en-IN" sz="5400" b="1" dirty="0" smtClean="0">
                  <a:solidFill>
                    <a:schemeClr val="accent2">
                      <a:lumMod val="50000"/>
                    </a:schemeClr>
                  </a:solidFill>
                  <a:latin typeface="Univers Condensed" panose="020B0606020202060204" pitchFamily="34" charset="0"/>
                </a:rPr>
                <a:t>ousing </a:t>
              </a:r>
              <a:r>
                <a:rPr lang="en-IN" sz="8600" b="1" dirty="0" smtClean="0">
                  <a:solidFill>
                    <a:schemeClr val="accent4">
                      <a:lumMod val="75000"/>
                    </a:schemeClr>
                  </a:solidFill>
                  <a:latin typeface="Univers Condensed" panose="020B0606020202060204" pitchFamily="34" charset="0"/>
                </a:rPr>
                <a:t>D</a:t>
              </a:r>
              <a:r>
                <a:rPr lang="en-IN" sz="5400" b="1" dirty="0" smtClean="0">
                  <a:solidFill>
                    <a:schemeClr val="accent4">
                      <a:lumMod val="75000"/>
                    </a:schemeClr>
                  </a:solidFill>
                  <a:latin typeface="Univers Condensed" panose="020B0606020202060204" pitchFamily="34" charset="0"/>
                </a:rPr>
                <a:t>ivision</a:t>
              </a:r>
            </a:p>
            <a:p>
              <a:pPr algn="ctr">
                <a:lnSpc>
                  <a:spcPct val="80000"/>
                </a:lnSpc>
              </a:pPr>
              <a:endParaRPr lang="en-IN" sz="2000" b="1" dirty="0" smtClean="0">
                <a:solidFill>
                  <a:schemeClr val="accent4">
                    <a:lumMod val="75000"/>
                  </a:schemeClr>
                </a:solidFill>
                <a:latin typeface="Univers Condensed" panose="020B0606020202060204" pitchFamily="34" charset="0"/>
              </a:endParaRPr>
            </a:p>
            <a:p>
              <a:pPr algn="ctr">
                <a:lnSpc>
                  <a:spcPct val="80000"/>
                </a:lnSpc>
              </a:pPr>
              <a:r>
                <a:rPr lang="en-IN" sz="2000" b="1" dirty="0" smtClean="0">
                  <a:latin typeface="Univers Condensed" panose="020B0606020202060204" pitchFamily="34" charset="0"/>
                </a:rPr>
                <a:t>14</a:t>
              </a:r>
              <a:r>
                <a:rPr lang="en-IN" sz="2000" b="1" baseline="30000" dirty="0" smtClean="0">
                  <a:latin typeface="Univers Condensed" panose="020B0606020202060204" pitchFamily="34" charset="0"/>
                </a:rPr>
                <a:t>th</a:t>
              </a:r>
              <a:r>
                <a:rPr lang="en-IN" sz="2000" b="1" dirty="0" smtClean="0">
                  <a:latin typeface="Univers Condensed" panose="020B0606020202060204" pitchFamily="34" charset="0"/>
                </a:rPr>
                <a:t> July 2021</a:t>
              </a:r>
            </a:p>
            <a:p>
              <a:pPr algn="ctr">
                <a:lnSpc>
                  <a:spcPct val="80000"/>
                </a:lnSpc>
              </a:pPr>
              <a:endParaRPr lang="en-IN" sz="3600" b="1" dirty="0">
                <a:latin typeface="Univers Condensed" panose="020B060602020206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E21271A1-4A35-439B-935D-380548DAE1A7}"/>
                </a:ext>
              </a:extLst>
            </p:cNvPr>
            <p:cNvSpPr txBox="1"/>
            <p:nvPr/>
          </p:nvSpPr>
          <p:spPr>
            <a:xfrm>
              <a:off x="6291040" y="2713567"/>
              <a:ext cx="4582496" cy="512448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>
                <a:lnSpc>
                  <a:spcPct val="80000"/>
                </a:lnSpc>
              </a:pPr>
              <a:endParaRPr lang="en-IN" sz="3600" b="1" dirty="0">
                <a:solidFill>
                  <a:schemeClr val="accent4">
                    <a:lumMod val="75000"/>
                  </a:schemeClr>
                </a:solidFill>
                <a:latin typeface="Univers Condensed" panose="020B0606020202060204" pitchFamily="34" charset="0"/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67732F9C-663F-453E-95EC-30C868AE392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" y="4162567"/>
            <a:ext cx="2579428" cy="98093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1484888" y="227121"/>
            <a:ext cx="6076144" cy="429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72504" algn="r">
              <a:defRPr sz="3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/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itiatives for Real Estate sector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Group 19"/>
          <p:cNvGrpSpPr/>
          <p:nvPr/>
        </p:nvGrpSpPr>
        <p:grpSpPr>
          <a:xfrm>
            <a:off x="12060" y="19229"/>
            <a:ext cx="7538234" cy="617777"/>
            <a:chOff x="16080" y="25639"/>
            <a:chExt cx="10050978" cy="823702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638" y="25639"/>
              <a:ext cx="1939895" cy="804248"/>
            </a:xfrm>
            <a:prstGeom prst="rect">
              <a:avLst/>
            </a:prstGeom>
          </p:spPr>
        </p:pic>
        <p:cxnSp>
          <p:nvCxnSpPr>
            <p:cNvPr id="22" name="Straight Connector 21"/>
            <p:cNvCxnSpPr/>
            <p:nvPr/>
          </p:nvCxnSpPr>
          <p:spPr>
            <a:xfrm>
              <a:off x="16080" y="849341"/>
              <a:ext cx="10050978" cy="0"/>
            </a:xfrm>
            <a:prstGeom prst="line">
              <a:avLst/>
            </a:prstGeom>
            <a:ln w="28575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5" name="Diagram 14">
            <a:extLst>
              <a:ext uri="{FF2B5EF4-FFF2-40B4-BE49-F238E27FC236}">
                <a16:creationId xmlns="" xmlns:a16="http://schemas.microsoft.com/office/drawing/2014/main" id="{EC914114-0B10-4C37-BDCC-7AE696F6C901}"/>
              </a:ext>
            </a:extLst>
          </p:cNvPr>
          <p:cNvGraphicFramePr/>
          <p:nvPr>
            <p:extLst/>
          </p:nvPr>
        </p:nvGraphicFramePr>
        <p:xfrm>
          <a:off x="-655093" y="709685"/>
          <a:ext cx="10385947" cy="42552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DEB109A3-A9AD-452A-90B6-AC8DE2620DA1}" type="slidenum">
              <a:rPr lang="en-US" sz="9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685800">
                <a:defRPr/>
              </a:pPr>
              <a:t>10</a:t>
            </a:fld>
            <a:endParaRPr lang="en-US" sz="9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90338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5900" b="22850"/>
          <a:stretch/>
        </p:blipFill>
        <p:spPr>
          <a:xfrm rot="20382337">
            <a:off x="336102" y="871830"/>
            <a:ext cx="4921812" cy="2502105"/>
          </a:xfrm>
          <a:prstGeom prst="rect">
            <a:avLst/>
          </a:prstGeom>
        </p:spPr>
      </p:pic>
      <p:graphicFrame>
        <p:nvGraphicFramePr>
          <p:cNvPr id="42" name="Object 41" hidden="1"/>
          <p:cNvGraphicFramePr>
            <a:graphicFrameLocks noChangeAspect="1"/>
          </p:cNvGraphicFramePr>
          <p:nvPr/>
        </p:nvGraphicFramePr>
        <p:xfrm>
          <a:off x="1192" y="1191"/>
          <a:ext cx="1191" cy="1191"/>
        </p:xfrm>
        <a:graphic>
          <a:graphicData uri="http://schemas.openxmlformats.org/presentationml/2006/ole">
            <p:oleObj spid="_x0000_s1026" name="think-cell Slide" r:id="rId6" imgW="360" imgH="360" progId="">
              <p:embed/>
            </p:oleObj>
          </a:graphicData>
        </a:graphic>
      </p:graphicFrame>
      <p:sp>
        <p:nvSpPr>
          <p:cNvPr id="43" name="Rectangle 42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grpSp>
        <p:nvGrpSpPr>
          <p:cNvPr id="2" name="Group 44"/>
          <p:cNvGrpSpPr/>
          <p:nvPr/>
        </p:nvGrpSpPr>
        <p:grpSpPr>
          <a:xfrm>
            <a:off x="7724310" y="106851"/>
            <a:ext cx="1067835" cy="759634"/>
            <a:chOff x="411517" y="79022"/>
            <a:chExt cx="1565419" cy="1113604"/>
          </a:xfrm>
        </p:grpSpPr>
        <p:grpSp>
          <p:nvGrpSpPr>
            <p:cNvPr id="3" name="Group 109"/>
            <p:cNvGrpSpPr>
              <a:grpSpLocks noChangeAspect="1"/>
            </p:cNvGrpSpPr>
            <p:nvPr/>
          </p:nvGrpSpPr>
          <p:grpSpPr bwMode="auto">
            <a:xfrm>
              <a:off x="1411002" y="79022"/>
              <a:ext cx="565934" cy="567035"/>
              <a:chOff x="3324" y="1646"/>
              <a:chExt cx="1028" cy="1030"/>
            </a:xfrm>
            <a:solidFill>
              <a:schemeClr val="bg1"/>
            </a:solidFill>
          </p:grpSpPr>
          <p:sp>
            <p:nvSpPr>
              <p:cNvPr id="54" name="Rectangle 110"/>
              <p:cNvSpPr>
                <a:spLocks noChangeArrowheads="1"/>
              </p:cNvSpPr>
              <p:nvPr/>
            </p:nvSpPr>
            <p:spPr bwMode="auto">
              <a:xfrm>
                <a:off x="3324" y="2029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" name="Rectangle 111"/>
              <p:cNvSpPr>
                <a:spLocks noChangeArrowheads="1"/>
              </p:cNvSpPr>
              <p:nvPr/>
            </p:nvSpPr>
            <p:spPr bwMode="auto">
              <a:xfrm>
                <a:off x="4275" y="2029"/>
                <a:ext cx="77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" name="Rectangle 112"/>
              <p:cNvSpPr>
                <a:spLocks noChangeArrowheads="1"/>
              </p:cNvSpPr>
              <p:nvPr/>
            </p:nvSpPr>
            <p:spPr bwMode="auto">
              <a:xfrm>
                <a:off x="3797" y="2122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" name="Rectangle 113"/>
              <p:cNvSpPr>
                <a:spLocks noChangeArrowheads="1"/>
              </p:cNvSpPr>
              <p:nvPr/>
            </p:nvSpPr>
            <p:spPr bwMode="auto">
              <a:xfrm>
                <a:off x="3324" y="1932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" name="Rectangle 114"/>
              <p:cNvSpPr>
                <a:spLocks noChangeArrowheads="1"/>
              </p:cNvSpPr>
              <p:nvPr/>
            </p:nvSpPr>
            <p:spPr bwMode="auto">
              <a:xfrm>
                <a:off x="4275" y="1932"/>
                <a:ext cx="77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" name="Rectangle 115"/>
              <p:cNvSpPr>
                <a:spLocks noChangeArrowheads="1"/>
              </p:cNvSpPr>
              <p:nvPr/>
            </p:nvSpPr>
            <p:spPr bwMode="auto">
              <a:xfrm>
                <a:off x="3797" y="2027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" name="Rectangle 116"/>
              <p:cNvSpPr>
                <a:spLocks noChangeArrowheads="1"/>
              </p:cNvSpPr>
              <p:nvPr/>
            </p:nvSpPr>
            <p:spPr bwMode="auto">
              <a:xfrm>
                <a:off x="3797" y="2217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" name="Rectangle 117"/>
              <p:cNvSpPr>
                <a:spLocks noChangeArrowheads="1"/>
              </p:cNvSpPr>
              <p:nvPr/>
            </p:nvSpPr>
            <p:spPr bwMode="auto">
              <a:xfrm>
                <a:off x="3797" y="2315"/>
                <a:ext cx="76" cy="7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" name="Rectangle 118"/>
              <p:cNvSpPr>
                <a:spLocks noChangeArrowheads="1"/>
              </p:cNvSpPr>
              <p:nvPr/>
            </p:nvSpPr>
            <p:spPr bwMode="auto">
              <a:xfrm>
                <a:off x="3324" y="2315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" name="Rectangle 119"/>
              <p:cNvSpPr>
                <a:spLocks noChangeArrowheads="1"/>
              </p:cNvSpPr>
              <p:nvPr/>
            </p:nvSpPr>
            <p:spPr bwMode="auto">
              <a:xfrm>
                <a:off x="4275" y="2315"/>
                <a:ext cx="77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4" name="Rectangle 120"/>
              <p:cNvSpPr>
                <a:spLocks noChangeArrowheads="1"/>
              </p:cNvSpPr>
              <p:nvPr/>
            </p:nvSpPr>
            <p:spPr bwMode="auto">
              <a:xfrm>
                <a:off x="3797" y="2410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" name="Rectangle 121"/>
              <p:cNvSpPr>
                <a:spLocks noChangeArrowheads="1"/>
              </p:cNvSpPr>
              <p:nvPr/>
            </p:nvSpPr>
            <p:spPr bwMode="auto">
              <a:xfrm>
                <a:off x="3324" y="2410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6" name="Rectangle 122"/>
              <p:cNvSpPr>
                <a:spLocks noChangeArrowheads="1"/>
              </p:cNvSpPr>
              <p:nvPr/>
            </p:nvSpPr>
            <p:spPr bwMode="auto">
              <a:xfrm>
                <a:off x="4275" y="2410"/>
                <a:ext cx="77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" name="Rectangle 123"/>
              <p:cNvSpPr>
                <a:spLocks noChangeArrowheads="1"/>
              </p:cNvSpPr>
              <p:nvPr/>
            </p:nvSpPr>
            <p:spPr bwMode="auto">
              <a:xfrm>
                <a:off x="3797" y="2505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" name="Rectangle 124"/>
              <p:cNvSpPr>
                <a:spLocks noChangeArrowheads="1"/>
              </p:cNvSpPr>
              <p:nvPr/>
            </p:nvSpPr>
            <p:spPr bwMode="auto">
              <a:xfrm>
                <a:off x="3324" y="2507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" name="Rectangle 125"/>
              <p:cNvSpPr>
                <a:spLocks noChangeArrowheads="1"/>
              </p:cNvSpPr>
              <p:nvPr/>
            </p:nvSpPr>
            <p:spPr bwMode="auto">
              <a:xfrm>
                <a:off x="4275" y="2507"/>
                <a:ext cx="77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" name="Rectangle 126"/>
              <p:cNvSpPr>
                <a:spLocks noChangeArrowheads="1"/>
              </p:cNvSpPr>
              <p:nvPr/>
            </p:nvSpPr>
            <p:spPr bwMode="auto">
              <a:xfrm>
                <a:off x="3797" y="260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1" name="Rectangle 127"/>
              <p:cNvSpPr>
                <a:spLocks noChangeArrowheads="1"/>
              </p:cNvSpPr>
              <p:nvPr/>
            </p:nvSpPr>
            <p:spPr bwMode="auto">
              <a:xfrm>
                <a:off x="3324" y="1836"/>
                <a:ext cx="73" cy="7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" name="Rectangle 128"/>
              <p:cNvSpPr>
                <a:spLocks noChangeArrowheads="1"/>
              </p:cNvSpPr>
              <p:nvPr/>
            </p:nvSpPr>
            <p:spPr bwMode="auto">
              <a:xfrm>
                <a:off x="4275" y="1836"/>
                <a:ext cx="77" cy="7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" name="Rectangle 129"/>
              <p:cNvSpPr>
                <a:spLocks noChangeArrowheads="1"/>
              </p:cNvSpPr>
              <p:nvPr/>
            </p:nvSpPr>
            <p:spPr bwMode="auto">
              <a:xfrm>
                <a:off x="3797" y="1932"/>
                <a:ext cx="76" cy="7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" name="Rectangle 130"/>
              <p:cNvSpPr>
                <a:spLocks noChangeArrowheads="1"/>
              </p:cNvSpPr>
              <p:nvPr/>
            </p:nvSpPr>
            <p:spPr bwMode="auto">
              <a:xfrm>
                <a:off x="3797" y="1741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5" name="Rectangle 131"/>
              <p:cNvSpPr>
                <a:spLocks noChangeArrowheads="1"/>
              </p:cNvSpPr>
              <p:nvPr/>
            </p:nvSpPr>
            <p:spPr bwMode="auto">
              <a:xfrm>
                <a:off x="3419" y="2029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6" name="Rectangle 132"/>
              <p:cNvSpPr>
                <a:spLocks noChangeArrowheads="1"/>
              </p:cNvSpPr>
              <p:nvPr/>
            </p:nvSpPr>
            <p:spPr bwMode="auto">
              <a:xfrm>
                <a:off x="4180" y="2029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" name="Rectangle 133"/>
              <p:cNvSpPr>
                <a:spLocks noChangeArrowheads="1"/>
              </p:cNvSpPr>
              <p:nvPr/>
            </p:nvSpPr>
            <p:spPr bwMode="auto">
              <a:xfrm>
                <a:off x="3419" y="1932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" name="Rectangle 134"/>
              <p:cNvSpPr>
                <a:spLocks noChangeArrowheads="1"/>
              </p:cNvSpPr>
              <p:nvPr/>
            </p:nvSpPr>
            <p:spPr bwMode="auto">
              <a:xfrm>
                <a:off x="4180" y="1932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" name="Rectangle 135"/>
              <p:cNvSpPr>
                <a:spLocks noChangeArrowheads="1"/>
              </p:cNvSpPr>
              <p:nvPr/>
            </p:nvSpPr>
            <p:spPr bwMode="auto">
              <a:xfrm>
                <a:off x="3419" y="2124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" name="Rectangle 136"/>
              <p:cNvSpPr>
                <a:spLocks noChangeArrowheads="1"/>
              </p:cNvSpPr>
              <p:nvPr/>
            </p:nvSpPr>
            <p:spPr bwMode="auto">
              <a:xfrm>
                <a:off x="4180" y="2124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" name="Rectangle 137"/>
              <p:cNvSpPr>
                <a:spLocks noChangeArrowheads="1"/>
              </p:cNvSpPr>
              <p:nvPr/>
            </p:nvSpPr>
            <p:spPr bwMode="auto">
              <a:xfrm>
                <a:off x="3419" y="2220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" name="Rectangle 138"/>
              <p:cNvSpPr>
                <a:spLocks noChangeArrowheads="1"/>
              </p:cNvSpPr>
              <p:nvPr/>
            </p:nvSpPr>
            <p:spPr bwMode="auto">
              <a:xfrm>
                <a:off x="4180" y="222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" name="Rectangle 139"/>
              <p:cNvSpPr>
                <a:spLocks noChangeArrowheads="1"/>
              </p:cNvSpPr>
              <p:nvPr/>
            </p:nvSpPr>
            <p:spPr bwMode="auto">
              <a:xfrm>
                <a:off x="3419" y="2315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" name="Rectangle 140"/>
              <p:cNvSpPr>
                <a:spLocks noChangeArrowheads="1"/>
              </p:cNvSpPr>
              <p:nvPr/>
            </p:nvSpPr>
            <p:spPr bwMode="auto">
              <a:xfrm>
                <a:off x="4180" y="2315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5" name="Rectangle 141"/>
              <p:cNvSpPr>
                <a:spLocks noChangeArrowheads="1"/>
              </p:cNvSpPr>
              <p:nvPr/>
            </p:nvSpPr>
            <p:spPr bwMode="auto">
              <a:xfrm>
                <a:off x="3419" y="2410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6" name="Rectangle 142"/>
              <p:cNvSpPr>
                <a:spLocks noChangeArrowheads="1"/>
              </p:cNvSpPr>
              <p:nvPr/>
            </p:nvSpPr>
            <p:spPr bwMode="auto">
              <a:xfrm>
                <a:off x="4180" y="241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7" name="Rectangle 143"/>
              <p:cNvSpPr>
                <a:spLocks noChangeArrowheads="1"/>
              </p:cNvSpPr>
              <p:nvPr/>
            </p:nvSpPr>
            <p:spPr bwMode="auto">
              <a:xfrm>
                <a:off x="3419" y="2507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8" name="Rectangle 144"/>
              <p:cNvSpPr>
                <a:spLocks noChangeArrowheads="1"/>
              </p:cNvSpPr>
              <p:nvPr/>
            </p:nvSpPr>
            <p:spPr bwMode="auto">
              <a:xfrm>
                <a:off x="4180" y="2507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9" name="Rectangle 145"/>
              <p:cNvSpPr>
                <a:spLocks noChangeArrowheads="1"/>
              </p:cNvSpPr>
              <p:nvPr/>
            </p:nvSpPr>
            <p:spPr bwMode="auto">
              <a:xfrm>
                <a:off x="3419" y="1836"/>
                <a:ext cx="73" cy="7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0" name="Rectangle 146"/>
              <p:cNvSpPr>
                <a:spLocks noChangeArrowheads="1"/>
              </p:cNvSpPr>
              <p:nvPr/>
            </p:nvSpPr>
            <p:spPr bwMode="auto">
              <a:xfrm>
                <a:off x="4180" y="1836"/>
                <a:ext cx="76" cy="7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" name="Rectangle 147"/>
              <p:cNvSpPr>
                <a:spLocks noChangeArrowheads="1"/>
              </p:cNvSpPr>
              <p:nvPr/>
            </p:nvSpPr>
            <p:spPr bwMode="auto">
              <a:xfrm>
                <a:off x="3514" y="2029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2" name="Rectangle 148"/>
              <p:cNvSpPr>
                <a:spLocks noChangeArrowheads="1"/>
              </p:cNvSpPr>
              <p:nvPr/>
            </p:nvSpPr>
            <p:spPr bwMode="auto">
              <a:xfrm>
                <a:off x="4085" y="2029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3" name="Rectangle 149"/>
              <p:cNvSpPr>
                <a:spLocks noChangeArrowheads="1"/>
              </p:cNvSpPr>
              <p:nvPr/>
            </p:nvSpPr>
            <p:spPr bwMode="auto">
              <a:xfrm>
                <a:off x="3514" y="1932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4" name="Rectangle 150"/>
              <p:cNvSpPr>
                <a:spLocks noChangeArrowheads="1"/>
              </p:cNvSpPr>
              <p:nvPr/>
            </p:nvSpPr>
            <p:spPr bwMode="auto">
              <a:xfrm>
                <a:off x="4085" y="1932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5" name="Rectangle 151"/>
              <p:cNvSpPr>
                <a:spLocks noChangeArrowheads="1"/>
              </p:cNvSpPr>
              <p:nvPr/>
            </p:nvSpPr>
            <p:spPr bwMode="auto">
              <a:xfrm>
                <a:off x="3514" y="2124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6" name="Rectangle 152"/>
              <p:cNvSpPr>
                <a:spLocks noChangeArrowheads="1"/>
              </p:cNvSpPr>
              <p:nvPr/>
            </p:nvSpPr>
            <p:spPr bwMode="auto">
              <a:xfrm>
                <a:off x="4085" y="2124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7" name="Rectangle 153"/>
              <p:cNvSpPr>
                <a:spLocks noChangeArrowheads="1"/>
              </p:cNvSpPr>
              <p:nvPr/>
            </p:nvSpPr>
            <p:spPr bwMode="auto">
              <a:xfrm>
                <a:off x="3514" y="222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8" name="Rectangle 154"/>
              <p:cNvSpPr>
                <a:spLocks noChangeArrowheads="1"/>
              </p:cNvSpPr>
              <p:nvPr/>
            </p:nvSpPr>
            <p:spPr bwMode="auto">
              <a:xfrm>
                <a:off x="4085" y="222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9" name="Rectangle 155"/>
              <p:cNvSpPr>
                <a:spLocks noChangeArrowheads="1"/>
              </p:cNvSpPr>
              <p:nvPr/>
            </p:nvSpPr>
            <p:spPr bwMode="auto">
              <a:xfrm>
                <a:off x="3514" y="2315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0" name="Rectangle 156"/>
              <p:cNvSpPr>
                <a:spLocks noChangeArrowheads="1"/>
              </p:cNvSpPr>
              <p:nvPr/>
            </p:nvSpPr>
            <p:spPr bwMode="auto">
              <a:xfrm>
                <a:off x="4085" y="2315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1" name="Rectangle 157"/>
              <p:cNvSpPr>
                <a:spLocks noChangeArrowheads="1"/>
              </p:cNvSpPr>
              <p:nvPr/>
            </p:nvSpPr>
            <p:spPr bwMode="auto">
              <a:xfrm>
                <a:off x="3514" y="241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2" name="Rectangle 158"/>
              <p:cNvSpPr>
                <a:spLocks noChangeArrowheads="1"/>
              </p:cNvSpPr>
              <p:nvPr/>
            </p:nvSpPr>
            <p:spPr bwMode="auto">
              <a:xfrm>
                <a:off x="4085" y="241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3" name="Rectangle 159"/>
              <p:cNvSpPr>
                <a:spLocks noChangeArrowheads="1"/>
              </p:cNvSpPr>
              <p:nvPr/>
            </p:nvSpPr>
            <p:spPr bwMode="auto">
              <a:xfrm>
                <a:off x="3609" y="2029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4" name="Rectangle 160"/>
              <p:cNvSpPr>
                <a:spLocks noChangeArrowheads="1"/>
              </p:cNvSpPr>
              <p:nvPr/>
            </p:nvSpPr>
            <p:spPr bwMode="auto">
              <a:xfrm>
                <a:off x="3702" y="1646"/>
                <a:ext cx="74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5" name="Rectangle 161"/>
              <p:cNvSpPr>
                <a:spLocks noChangeArrowheads="1"/>
              </p:cNvSpPr>
              <p:nvPr/>
            </p:nvSpPr>
            <p:spPr bwMode="auto">
              <a:xfrm>
                <a:off x="3895" y="1646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6" name="Rectangle 162"/>
              <p:cNvSpPr>
                <a:spLocks noChangeArrowheads="1"/>
              </p:cNvSpPr>
              <p:nvPr/>
            </p:nvSpPr>
            <p:spPr bwMode="auto">
              <a:xfrm>
                <a:off x="3990" y="2029"/>
                <a:ext cx="74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7" name="Rectangle 163"/>
              <p:cNvSpPr>
                <a:spLocks noChangeArrowheads="1"/>
              </p:cNvSpPr>
              <p:nvPr/>
            </p:nvSpPr>
            <p:spPr bwMode="auto">
              <a:xfrm>
                <a:off x="3609" y="2124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8" name="Rectangle 164"/>
              <p:cNvSpPr>
                <a:spLocks noChangeArrowheads="1"/>
              </p:cNvSpPr>
              <p:nvPr/>
            </p:nvSpPr>
            <p:spPr bwMode="auto">
              <a:xfrm>
                <a:off x="3990" y="2124"/>
                <a:ext cx="74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9" name="Rectangle 165"/>
              <p:cNvSpPr>
                <a:spLocks noChangeArrowheads="1"/>
              </p:cNvSpPr>
              <p:nvPr/>
            </p:nvSpPr>
            <p:spPr bwMode="auto">
              <a:xfrm>
                <a:off x="3609" y="222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0" name="Rectangle 166"/>
              <p:cNvSpPr>
                <a:spLocks noChangeArrowheads="1"/>
              </p:cNvSpPr>
              <p:nvPr/>
            </p:nvSpPr>
            <p:spPr bwMode="auto">
              <a:xfrm>
                <a:off x="3990" y="2220"/>
                <a:ext cx="74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" name="Rectangle 167"/>
              <p:cNvSpPr>
                <a:spLocks noChangeArrowheads="1"/>
              </p:cNvSpPr>
              <p:nvPr/>
            </p:nvSpPr>
            <p:spPr bwMode="auto">
              <a:xfrm>
                <a:off x="3609" y="2315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" name="Rectangle 168"/>
              <p:cNvSpPr>
                <a:spLocks noChangeArrowheads="1"/>
              </p:cNvSpPr>
              <p:nvPr/>
            </p:nvSpPr>
            <p:spPr bwMode="auto">
              <a:xfrm>
                <a:off x="3990" y="2315"/>
                <a:ext cx="74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4" name="Group 182"/>
            <p:cNvGrpSpPr>
              <a:grpSpLocks noChangeAspect="1"/>
            </p:cNvGrpSpPr>
            <p:nvPr/>
          </p:nvGrpSpPr>
          <p:grpSpPr bwMode="auto">
            <a:xfrm>
              <a:off x="411517" y="756355"/>
              <a:ext cx="1539136" cy="436271"/>
              <a:chOff x="949" y="186"/>
              <a:chExt cx="1263" cy="358"/>
            </a:xfrm>
            <a:solidFill>
              <a:schemeClr val="bg1"/>
            </a:solidFill>
          </p:grpSpPr>
          <p:sp>
            <p:nvSpPr>
              <p:cNvPr id="48" name="Freeform 183"/>
              <p:cNvSpPr>
                <a:spLocks noEditPoints="1"/>
              </p:cNvSpPr>
              <p:nvPr/>
            </p:nvSpPr>
            <p:spPr bwMode="auto">
              <a:xfrm>
                <a:off x="949" y="186"/>
                <a:ext cx="1263" cy="242"/>
              </a:xfrm>
              <a:custGeom>
                <a:avLst/>
                <a:gdLst>
                  <a:gd name="T0" fmla="*/ 686 w 717"/>
                  <a:gd name="T1" fmla="*/ 114 h 136"/>
                  <a:gd name="T2" fmla="*/ 680 w 717"/>
                  <a:gd name="T3" fmla="*/ 78 h 136"/>
                  <a:gd name="T4" fmla="*/ 641 w 717"/>
                  <a:gd name="T5" fmla="*/ 34 h 136"/>
                  <a:gd name="T6" fmla="*/ 654 w 717"/>
                  <a:gd name="T7" fmla="*/ 117 h 136"/>
                  <a:gd name="T8" fmla="*/ 631 w 717"/>
                  <a:gd name="T9" fmla="*/ 109 h 136"/>
                  <a:gd name="T10" fmla="*/ 622 w 717"/>
                  <a:gd name="T11" fmla="*/ 88 h 136"/>
                  <a:gd name="T12" fmla="*/ 633 w 717"/>
                  <a:gd name="T13" fmla="*/ 47 h 136"/>
                  <a:gd name="T14" fmla="*/ 621 w 717"/>
                  <a:gd name="T15" fmla="*/ 11 h 136"/>
                  <a:gd name="T16" fmla="*/ 598 w 717"/>
                  <a:gd name="T17" fmla="*/ 32 h 136"/>
                  <a:gd name="T18" fmla="*/ 598 w 717"/>
                  <a:gd name="T19" fmla="*/ 48 h 136"/>
                  <a:gd name="T20" fmla="*/ 631 w 717"/>
                  <a:gd name="T21" fmla="*/ 109 h 136"/>
                  <a:gd name="T22" fmla="*/ 541 w 717"/>
                  <a:gd name="T23" fmla="*/ 84 h 136"/>
                  <a:gd name="T24" fmla="*/ 495 w 717"/>
                  <a:gd name="T25" fmla="*/ 86 h 136"/>
                  <a:gd name="T26" fmla="*/ 487 w 717"/>
                  <a:gd name="T27" fmla="*/ 55 h 136"/>
                  <a:gd name="T28" fmla="*/ 495 w 717"/>
                  <a:gd name="T29" fmla="*/ 23 h 136"/>
                  <a:gd name="T30" fmla="*/ 541 w 717"/>
                  <a:gd name="T31" fmla="*/ 26 h 136"/>
                  <a:gd name="T32" fmla="*/ 467 w 717"/>
                  <a:gd name="T33" fmla="*/ 26 h 136"/>
                  <a:gd name="T34" fmla="*/ 464 w 717"/>
                  <a:gd name="T35" fmla="*/ 65 h 136"/>
                  <a:gd name="T36" fmla="*/ 403 w 717"/>
                  <a:gd name="T37" fmla="*/ 109 h 136"/>
                  <a:gd name="T38" fmla="*/ 394 w 717"/>
                  <a:gd name="T39" fmla="*/ 88 h 136"/>
                  <a:gd name="T40" fmla="*/ 404 w 717"/>
                  <a:gd name="T41" fmla="*/ 47 h 136"/>
                  <a:gd name="T42" fmla="*/ 392 w 717"/>
                  <a:gd name="T43" fmla="*/ 11 h 136"/>
                  <a:gd name="T44" fmla="*/ 370 w 717"/>
                  <a:gd name="T45" fmla="*/ 32 h 136"/>
                  <a:gd name="T46" fmla="*/ 370 w 717"/>
                  <a:gd name="T47" fmla="*/ 48 h 136"/>
                  <a:gd name="T48" fmla="*/ 403 w 717"/>
                  <a:gd name="T49" fmla="*/ 109 h 136"/>
                  <a:gd name="T50" fmla="*/ 336 w 717"/>
                  <a:gd name="T51" fmla="*/ 50 h 136"/>
                  <a:gd name="T52" fmla="*/ 352 w 717"/>
                  <a:gd name="T53" fmla="*/ 32 h 136"/>
                  <a:gd name="T54" fmla="*/ 325 w 717"/>
                  <a:gd name="T55" fmla="*/ 34 h 136"/>
                  <a:gd name="T56" fmla="*/ 304 w 717"/>
                  <a:gd name="T57" fmla="*/ 108 h 136"/>
                  <a:gd name="T58" fmla="*/ 266 w 717"/>
                  <a:gd name="T59" fmla="*/ 78 h 136"/>
                  <a:gd name="T60" fmla="*/ 287 w 717"/>
                  <a:gd name="T61" fmla="*/ 106 h 136"/>
                  <a:gd name="T62" fmla="*/ 253 w 717"/>
                  <a:gd name="T63" fmla="*/ 31 h 136"/>
                  <a:gd name="T64" fmla="*/ 234 w 717"/>
                  <a:gd name="T65" fmla="*/ 53 h 136"/>
                  <a:gd name="T66" fmla="*/ 266 w 717"/>
                  <a:gd name="T67" fmla="*/ 61 h 136"/>
                  <a:gd name="T68" fmla="*/ 222 w 717"/>
                  <a:gd name="T69" fmla="*/ 97 h 136"/>
                  <a:gd name="T70" fmla="*/ 266 w 717"/>
                  <a:gd name="T71" fmla="*/ 101 h 136"/>
                  <a:gd name="T72" fmla="*/ 206 w 717"/>
                  <a:gd name="T73" fmla="*/ 108 h 136"/>
                  <a:gd name="T74" fmla="*/ 167 w 717"/>
                  <a:gd name="T75" fmla="*/ 33 h 136"/>
                  <a:gd name="T76" fmla="*/ 117 w 717"/>
                  <a:gd name="T77" fmla="*/ 39 h 136"/>
                  <a:gd name="T78" fmla="*/ 95 w 717"/>
                  <a:gd name="T79" fmla="*/ 34 h 136"/>
                  <a:gd name="T80" fmla="*/ 117 w 717"/>
                  <a:gd name="T81" fmla="*/ 63 h 136"/>
                  <a:gd name="T82" fmla="*/ 141 w 717"/>
                  <a:gd name="T83" fmla="*/ 106 h 136"/>
                  <a:gd name="T84" fmla="*/ 166 w 717"/>
                  <a:gd name="T85" fmla="*/ 53 h 136"/>
                  <a:gd name="T86" fmla="*/ 188 w 717"/>
                  <a:gd name="T87" fmla="*/ 108 h 136"/>
                  <a:gd name="T88" fmla="*/ 83 w 717"/>
                  <a:gd name="T89" fmla="*/ 76 h 136"/>
                  <a:gd name="T90" fmla="*/ 28 w 717"/>
                  <a:gd name="T91" fmla="*/ 32 h 136"/>
                  <a:gd name="T92" fmla="*/ 69 w 717"/>
                  <a:gd name="T93" fmla="*/ 28 h 136"/>
                  <a:gd name="T94" fmla="*/ 27 w 717"/>
                  <a:gd name="T95" fmla="*/ 2 h 136"/>
                  <a:gd name="T96" fmla="*/ 38 w 717"/>
                  <a:gd name="T97" fmla="*/ 64 h 136"/>
                  <a:gd name="T98" fmla="*/ 43 w 717"/>
                  <a:gd name="T99" fmla="*/ 89 h 136"/>
                  <a:gd name="T100" fmla="*/ 1 w 717"/>
                  <a:gd name="T101" fmla="*/ 95 h 136"/>
                  <a:gd name="T102" fmla="*/ 60 w 717"/>
                  <a:gd name="T103" fmla="*/ 107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17" h="136">
                    <a:moveTo>
                      <a:pt x="659" y="136"/>
                    </a:moveTo>
                    <a:cubicBezTo>
                      <a:pt x="662" y="136"/>
                      <a:pt x="666" y="135"/>
                      <a:pt x="668" y="135"/>
                    </a:cubicBezTo>
                    <a:cubicBezTo>
                      <a:pt x="671" y="134"/>
                      <a:pt x="673" y="133"/>
                      <a:pt x="675" y="131"/>
                    </a:cubicBezTo>
                    <a:cubicBezTo>
                      <a:pt x="677" y="130"/>
                      <a:pt x="679" y="127"/>
                      <a:pt x="681" y="125"/>
                    </a:cubicBezTo>
                    <a:cubicBezTo>
                      <a:pt x="682" y="122"/>
                      <a:pt x="684" y="118"/>
                      <a:pt x="686" y="114"/>
                    </a:cubicBezTo>
                    <a:cubicBezTo>
                      <a:pt x="716" y="34"/>
                      <a:pt x="716" y="34"/>
                      <a:pt x="716" y="34"/>
                    </a:cubicBezTo>
                    <a:cubicBezTo>
                      <a:pt x="717" y="33"/>
                      <a:pt x="716" y="32"/>
                      <a:pt x="715" y="32"/>
                    </a:cubicBezTo>
                    <a:cubicBezTo>
                      <a:pt x="696" y="32"/>
                      <a:pt x="696" y="32"/>
                      <a:pt x="696" y="32"/>
                    </a:cubicBezTo>
                    <a:cubicBezTo>
                      <a:pt x="695" y="32"/>
                      <a:pt x="694" y="33"/>
                      <a:pt x="694" y="34"/>
                    </a:cubicBezTo>
                    <a:cubicBezTo>
                      <a:pt x="680" y="78"/>
                      <a:pt x="680" y="78"/>
                      <a:pt x="680" y="78"/>
                    </a:cubicBezTo>
                    <a:cubicBezTo>
                      <a:pt x="679" y="78"/>
                      <a:pt x="679" y="78"/>
                      <a:pt x="679" y="78"/>
                    </a:cubicBezTo>
                    <a:cubicBezTo>
                      <a:pt x="664" y="34"/>
                      <a:pt x="664" y="34"/>
                      <a:pt x="664" y="34"/>
                    </a:cubicBezTo>
                    <a:cubicBezTo>
                      <a:pt x="664" y="33"/>
                      <a:pt x="663" y="32"/>
                      <a:pt x="662" y="32"/>
                    </a:cubicBezTo>
                    <a:cubicBezTo>
                      <a:pt x="643" y="32"/>
                      <a:pt x="643" y="32"/>
                      <a:pt x="643" y="32"/>
                    </a:cubicBezTo>
                    <a:cubicBezTo>
                      <a:pt x="641" y="32"/>
                      <a:pt x="641" y="33"/>
                      <a:pt x="641" y="34"/>
                    </a:cubicBezTo>
                    <a:cubicBezTo>
                      <a:pt x="669" y="104"/>
                      <a:pt x="669" y="104"/>
                      <a:pt x="669" y="104"/>
                    </a:cubicBezTo>
                    <a:cubicBezTo>
                      <a:pt x="667" y="110"/>
                      <a:pt x="667" y="110"/>
                      <a:pt x="667" y="110"/>
                    </a:cubicBezTo>
                    <a:cubicBezTo>
                      <a:pt x="666" y="112"/>
                      <a:pt x="665" y="114"/>
                      <a:pt x="664" y="116"/>
                    </a:cubicBezTo>
                    <a:cubicBezTo>
                      <a:pt x="662" y="117"/>
                      <a:pt x="660" y="117"/>
                      <a:pt x="657" y="117"/>
                    </a:cubicBezTo>
                    <a:cubicBezTo>
                      <a:pt x="654" y="117"/>
                      <a:pt x="654" y="117"/>
                      <a:pt x="654" y="117"/>
                    </a:cubicBezTo>
                    <a:cubicBezTo>
                      <a:pt x="653" y="117"/>
                      <a:pt x="652" y="118"/>
                      <a:pt x="652" y="119"/>
                    </a:cubicBezTo>
                    <a:cubicBezTo>
                      <a:pt x="652" y="134"/>
                      <a:pt x="652" y="134"/>
                      <a:pt x="652" y="134"/>
                    </a:cubicBezTo>
                    <a:cubicBezTo>
                      <a:pt x="652" y="135"/>
                      <a:pt x="653" y="136"/>
                      <a:pt x="654" y="136"/>
                    </a:cubicBezTo>
                    <a:lnTo>
                      <a:pt x="659" y="136"/>
                    </a:lnTo>
                    <a:close/>
                    <a:moveTo>
                      <a:pt x="631" y="109"/>
                    </a:moveTo>
                    <a:cubicBezTo>
                      <a:pt x="632" y="109"/>
                      <a:pt x="633" y="108"/>
                      <a:pt x="633" y="107"/>
                    </a:cubicBezTo>
                    <a:cubicBezTo>
                      <a:pt x="633" y="92"/>
                      <a:pt x="633" y="92"/>
                      <a:pt x="633" y="92"/>
                    </a:cubicBezTo>
                    <a:cubicBezTo>
                      <a:pt x="633" y="91"/>
                      <a:pt x="632" y="90"/>
                      <a:pt x="631" y="90"/>
                    </a:cubicBezTo>
                    <a:cubicBezTo>
                      <a:pt x="628" y="90"/>
                      <a:pt x="628" y="90"/>
                      <a:pt x="628" y="90"/>
                    </a:cubicBezTo>
                    <a:cubicBezTo>
                      <a:pt x="625" y="90"/>
                      <a:pt x="623" y="90"/>
                      <a:pt x="622" y="88"/>
                    </a:cubicBezTo>
                    <a:cubicBezTo>
                      <a:pt x="621" y="87"/>
                      <a:pt x="621" y="85"/>
                      <a:pt x="621" y="83"/>
                    </a:cubicBezTo>
                    <a:cubicBezTo>
                      <a:pt x="621" y="49"/>
                      <a:pt x="621" y="49"/>
                      <a:pt x="621" y="49"/>
                    </a:cubicBezTo>
                    <a:cubicBezTo>
                      <a:pt x="621" y="49"/>
                      <a:pt x="621" y="48"/>
                      <a:pt x="622" y="48"/>
                    </a:cubicBezTo>
                    <a:cubicBezTo>
                      <a:pt x="631" y="48"/>
                      <a:pt x="631" y="48"/>
                      <a:pt x="631" y="48"/>
                    </a:cubicBezTo>
                    <a:cubicBezTo>
                      <a:pt x="632" y="48"/>
                      <a:pt x="633" y="48"/>
                      <a:pt x="633" y="47"/>
                    </a:cubicBezTo>
                    <a:cubicBezTo>
                      <a:pt x="633" y="34"/>
                      <a:pt x="633" y="34"/>
                      <a:pt x="633" y="34"/>
                    </a:cubicBezTo>
                    <a:cubicBezTo>
                      <a:pt x="633" y="33"/>
                      <a:pt x="632" y="32"/>
                      <a:pt x="631" y="32"/>
                    </a:cubicBezTo>
                    <a:cubicBezTo>
                      <a:pt x="622" y="32"/>
                      <a:pt x="622" y="32"/>
                      <a:pt x="622" y="32"/>
                    </a:cubicBezTo>
                    <a:cubicBezTo>
                      <a:pt x="621" y="32"/>
                      <a:pt x="621" y="32"/>
                      <a:pt x="621" y="31"/>
                    </a:cubicBezTo>
                    <a:cubicBezTo>
                      <a:pt x="621" y="11"/>
                      <a:pt x="621" y="11"/>
                      <a:pt x="621" y="11"/>
                    </a:cubicBezTo>
                    <a:cubicBezTo>
                      <a:pt x="621" y="10"/>
                      <a:pt x="620" y="10"/>
                      <a:pt x="619" y="10"/>
                    </a:cubicBezTo>
                    <a:cubicBezTo>
                      <a:pt x="601" y="10"/>
                      <a:pt x="601" y="10"/>
                      <a:pt x="601" y="10"/>
                    </a:cubicBezTo>
                    <a:cubicBezTo>
                      <a:pt x="600" y="10"/>
                      <a:pt x="599" y="10"/>
                      <a:pt x="599" y="11"/>
                    </a:cubicBezTo>
                    <a:cubicBezTo>
                      <a:pt x="599" y="31"/>
                      <a:pt x="599" y="31"/>
                      <a:pt x="599" y="31"/>
                    </a:cubicBezTo>
                    <a:cubicBezTo>
                      <a:pt x="599" y="32"/>
                      <a:pt x="599" y="32"/>
                      <a:pt x="598" y="32"/>
                    </a:cubicBezTo>
                    <a:cubicBezTo>
                      <a:pt x="594" y="32"/>
                      <a:pt x="594" y="32"/>
                      <a:pt x="594" y="32"/>
                    </a:cubicBezTo>
                    <a:cubicBezTo>
                      <a:pt x="592" y="32"/>
                      <a:pt x="592" y="33"/>
                      <a:pt x="592" y="34"/>
                    </a:cubicBezTo>
                    <a:cubicBezTo>
                      <a:pt x="592" y="47"/>
                      <a:pt x="592" y="47"/>
                      <a:pt x="592" y="47"/>
                    </a:cubicBezTo>
                    <a:cubicBezTo>
                      <a:pt x="592" y="48"/>
                      <a:pt x="592" y="48"/>
                      <a:pt x="594" y="48"/>
                    </a:cubicBezTo>
                    <a:cubicBezTo>
                      <a:pt x="598" y="48"/>
                      <a:pt x="598" y="48"/>
                      <a:pt x="598" y="48"/>
                    </a:cubicBezTo>
                    <a:cubicBezTo>
                      <a:pt x="599" y="48"/>
                      <a:pt x="599" y="49"/>
                      <a:pt x="599" y="49"/>
                    </a:cubicBezTo>
                    <a:cubicBezTo>
                      <a:pt x="599" y="84"/>
                      <a:pt x="599" y="84"/>
                      <a:pt x="599" y="84"/>
                    </a:cubicBezTo>
                    <a:cubicBezTo>
                      <a:pt x="599" y="92"/>
                      <a:pt x="601" y="99"/>
                      <a:pt x="605" y="103"/>
                    </a:cubicBezTo>
                    <a:cubicBezTo>
                      <a:pt x="608" y="107"/>
                      <a:pt x="614" y="109"/>
                      <a:pt x="623" y="109"/>
                    </a:cubicBezTo>
                    <a:lnTo>
                      <a:pt x="631" y="109"/>
                    </a:lnTo>
                    <a:close/>
                    <a:moveTo>
                      <a:pt x="481" y="103"/>
                    </a:moveTo>
                    <a:cubicBezTo>
                      <a:pt x="488" y="107"/>
                      <a:pt x="495" y="109"/>
                      <a:pt x="505" y="109"/>
                    </a:cubicBezTo>
                    <a:cubicBezTo>
                      <a:pt x="514" y="109"/>
                      <a:pt x="521" y="107"/>
                      <a:pt x="528" y="103"/>
                    </a:cubicBezTo>
                    <a:cubicBezTo>
                      <a:pt x="534" y="99"/>
                      <a:pt x="539" y="93"/>
                      <a:pt x="542" y="86"/>
                    </a:cubicBezTo>
                    <a:cubicBezTo>
                      <a:pt x="542" y="85"/>
                      <a:pt x="542" y="84"/>
                      <a:pt x="541" y="84"/>
                    </a:cubicBezTo>
                    <a:cubicBezTo>
                      <a:pt x="524" y="76"/>
                      <a:pt x="524" y="76"/>
                      <a:pt x="524" y="76"/>
                    </a:cubicBezTo>
                    <a:cubicBezTo>
                      <a:pt x="523" y="76"/>
                      <a:pt x="522" y="76"/>
                      <a:pt x="522" y="77"/>
                    </a:cubicBezTo>
                    <a:cubicBezTo>
                      <a:pt x="520" y="81"/>
                      <a:pt x="518" y="83"/>
                      <a:pt x="516" y="86"/>
                    </a:cubicBezTo>
                    <a:cubicBezTo>
                      <a:pt x="513" y="88"/>
                      <a:pt x="509" y="89"/>
                      <a:pt x="505" y="89"/>
                    </a:cubicBezTo>
                    <a:cubicBezTo>
                      <a:pt x="501" y="89"/>
                      <a:pt x="497" y="88"/>
                      <a:pt x="495" y="86"/>
                    </a:cubicBezTo>
                    <a:cubicBezTo>
                      <a:pt x="492" y="84"/>
                      <a:pt x="490" y="81"/>
                      <a:pt x="489" y="78"/>
                    </a:cubicBezTo>
                    <a:cubicBezTo>
                      <a:pt x="489" y="77"/>
                      <a:pt x="489" y="76"/>
                      <a:pt x="488" y="74"/>
                    </a:cubicBezTo>
                    <a:cubicBezTo>
                      <a:pt x="488" y="73"/>
                      <a:pt x="488" y="72"/>
                      <a:pt x="488" y="70"/>
                    </a:cubicBezTo>
                    <a:cubicBezTo>
                      <a:pt x="488" y="69"/>
                      <a:pt x="487" y="67"/>
                      <a:pt x="487" y="64"/>
                    </a:cubicBezTo>
                    <a:cubicBezTo>
                      <a:pt x="487" y="62"/>
                      <a:pt x="487" y="59"/>
                      <a:pt x="487" y="55"/>
                    </a:cubicBezTo>
                    <a:cubicBezTo>
                      <a:pt x="487" y="51"/>
                      <a:pt x="487" y="48"/>
                      <a:pt x="487" y="45"/>
                    </a:cubicBezTo>
                    <a:cubicBezTo>
                      <a:pt x="487" y="43"/>
                      <a:pt x="488" y="41"/>
                      <a:pt x="488" y="39"/>
                    </a:cubicBezTo>
                    <a:cubicBezTo>
                      <a:pt x="488" y="38"/>
                      <a:pt x="488" y="36"/>
                      <a:pt x="488" y="35"/>
                    </a:cubicBezTo>
                    <a:cubicBezTo>
                      <a:pt x="489" y="34"/>
                      <a:pt x="489" y="33"/>
                      <a:pt x="489" y="32"/>
                    </a:cubicBezTo>
                    <a:cubicBezTo>
                      <a:pt x="490" y="28"/>
                      <a:pt x="492" y="26"/>
                      <a:pt x="495" y="23"/>
                    </a:cubicBezTo>
                    <a:cubicBezTo>
                      <a:pt x="497" y="21"/>
                      <a:pt x="501" y="20"/>
                      <a:pt x="505" y="20"/>
                    </a:cubicBezTo>
                    <a:cubicBezTo>
                      <a:pt x="509" y="20"/>
                      <a:pt x="513" y="22"/>
                      <a:pt x="516" y="24"/>
                    </a:cubicBezTo>
                    <a:cubicBezTo>
                      <a:pt x="518" y="26"/>
                      <a:pt x="520" y="29"/>
                      <a:pt x="522" y="32"/>
                    </a:cubicBezTo>
                    <a:cubicBezTo>
                      <a:pt x="522" y="33"/>
                      <a:pt x="523" y="34"/>
                      <a:pt x="524" y="33"/>
                    </a:cubicBezTo>
                    <a:cubicBezTo>
                      <a:pt x="541" y="26"/>
                      <a:pt x="541" y="26"/>
                      <a:pt x="541" y="26"/>
                    </a:cubicBezTo>
                    <a:cubicBezTo>
                      <a:pt x="542" y="25"/>
                      <a:pt x="542" y="25"/>
                      <a:pt x="542" y="24"/>
                    </a:cubicBezTo>
                    <a:cubicBezTo>
                      <a:pt x="539" y="16"/>
                      <a:pt x="534" y="10"/>
                      <a:pt x="528" y="6"/>
                    </a:cubicBezTo>
                    <a:cubicBezTo>
                      <a:pt x="521" y="2"/>
                      <a:pt x="514" y="0"/>
                      <a:pt x="505" y="0"/>
                    </a:cubicBezTo>
                    <a:cubicBezTo>
                      <a:pt x="495" y="0"/>
                      <a:pt x="488" y="2"/>
                      <a:pt x="481" y="7"/>
                    </a:cubicBezTo>
                    <a:cubicBezTo>
                      <a:pt x="475" y="11"/>
                      <a:pt x="470" y="17"/>
                      <a:pt x="467" y="26"/>
                    </a:cubicBezTo>
                    <a:cubicBezTo>
                      <a:pt x="466" y="28"/>
                      <a:pt x="466" y="30"/>
                      <a:pt x="466" y="31"/>
                    </a:cubicBezTo>
                    <a:cubicBezTo>
                      <a:pt x="465" y="33"/>
                      <a:pt x="465" y="35"/>
                      <a:pt x="465" y="37"/>
                    </a:cubicBezTo>
                    <a:cubicBezTo>
                      <a:pt x="465" y="39"/>
                      <a:pt x="464" y="42"/>
                      <a:pt x="464" y="44"/>
                    </a:cubicBezTo>
                    <a:cubicBezTo>
                      <a:pt x="464" y="47"/>
                      <a:pt x="464" y="51"/>
                      <a:pt x="464" y="55"/>
                    </a:cubicBezTo>
                    <a:cubicBezTo>
                      <a:pt x="464" y="59"/>
                      <a:pt x="464" y="62"/>
                      <a:pt x="464" y="65"/>
                    </a:cubicBezTo>
                    <a:cubicBezTo>
                      <a:pt x="464" y="68"/>
                      <a:pt x="465" y="70"/>
                      <a:pt x="465" y="73"/>
                    </a:cubicBezTo>
                    <a:cubicBezTo>
                      <a:pt x="465" y="75"/>
                      <a:pt x="465" y="77"/>
                      <a:pt x="466" y="78"/>
                    </a:cubicBezTo>
                    <a:cubicBezTo>
                      <a:pt x="466" y="80"/>
                      <a:pt x="466" y="82"/>
                      <a:pt x="467" y="83"/>
                    </a:cubicBezTo>
                    <a:cubicBezTo>
                      <a:pt x="470" y="92"/>
                      <a:pt x="475" y="99"/>
                      <a:pt x="481" y="103"/>
                    </a:cubicBezTo>
                    <a:moveTo>
                      <a:pt x="403" y="109"/>
                    </a:moveTo>
                    <a:cubicBezTo>
                      <a:pt x="404" y="109"/>
                      <a:pt x="404" y="108"/>
                      <a:pt x="404" y="107"/>
                    </a:cubicBezTo>
                    <a:cubicBezTo>
                      <a:pt x="404" y="92"/>
                      <a:pt x="404" y="92"/>
                      <a:pt x="404" y="92"/>
                    </a:cubicBezTo>
                    <a:cubicBezTo>
                      <a:pt x="404" y="91"/>
                      <a:pt x="404" y="90"/>
                      <a:pt x="403" y="90"/>
                    </a:cubicBezTo>
                    <a:cubicBezTo>
                      <a:pt x="399" y="90"/>
                      <a:pt x="399" y="90"/>
                      <a:pt x="399" y="90"/>
                    </a:cubicBezTo>
                    <a:cubicBezTo>
                      <a:pt x="397" y="90"/>
                      <a:pt x="395" y="90"/>
                      <a:pt x="394" y="88"/>
                    </a:cubicBezTo>
                    <a:cubicBezTo>
                      <a:pt x="393" y="87"/>
                      <a:pt x="392" y="85"/>
                      <a:pt x="392" y="83"/>
                    </a:cubicBezTo>
                    <a:cubicBezTo>
                      <a:pt x="392" y="49"/>
                      <a:pt x="392" y="49"/>
                      <a:pt x="392" y="49"/>
                    </a:cubicBezTo>
                    <a:cubicBezTo>
                      <a:pt x="392" y="49"/>
                      <a:pt x="393" y="48"/>
                      <a:pt x="393" y="48"/>
                    </a:cubicBezTo>
                    <a:cubicBezTo>
                      <a:pt x="403" y="48"/>
                      <a:pt x="403" y="48"/>
                      <a:pt x="403" y="48"/>
                    </a:cubicBezTo>
                    <a:cubicBezTo>
                      <a:pt x="404" y="48"/>
                      <a:pt x="404" y="48"/>
                      <a:pt x="404" y="47"/>
                    </a:cubicBezTo>
                    <a:cubicBezTo>
                      <a:pt x="404" y="34"/>
                      <a:pt x="404" y="34"/>
                      <a:pt x="404" y="34"/>
                    </a:cubicBezTo>
                    <a:cubicBezTo>
                      <a:pt x="404" y="33"/>
                      <a:pt x="404" y="32"/>
                      <a:pt x="403" y="32"/>
                    </a:cubicBezTo>
                    <a:cubicBezTo>
                      <a:pt x="393" y="32"/>
                      <a:pt x="393" y="32"/>
                      <a:pt x="393" y="32"/>
                    </a:cubicBezTo>
                    <a:cubicBezTo>
                      <a:pt x="393" y="32"/>
                      <a:pt x="392" y="32"/>
                      <a:pt x="392" y="31"/>
                    </a:cubicBezTo>
                    <a:cubicBezTo>
                      <a:pt x="392" y="11"/>
                      <a:pt x="392" y="11"/>
                      <a:pt x="392" y="11"/>
                    </a:cubicBezTo>
                    <a:cubicBezTo>
                      <a:pt x="392" y="10"/>
                      <a:pt x="392" y="10"/>
                      <a:pt x="391" y="10"/>
                    </a:cubicBezTo>
                    <a:cubicBezTo>
                      <a:pt x="372" y="10"/>
                      <a:pt x="372" y="10"/>
                      <a:pt x="372" y="10"/>
                    </a:cubicBezTo>
                    <a:cubicBezTo>
                      <a:pt x="371" y="10"/>
                      <a:pt x="371" y="10"/>
                      <a:pt x="371" y="11"/>
                    </a:cubicBezTo>
                    <a:cubicBezTo>
                      <a:pt x="371" y="31"/>
                      <a:pt x="371" y="31"/>
                      <a:pt x="371" y="31"/>
                    </a:cubicBezTo>
                    <a:cubicBezTo>
                      <a:pt x="371" y="32"/>
                      <a:pt x="370" y="32"/>
                      <a:pt x="370" y="32"/>
                    </a:cubicBezTo>
                    <a:cubicBezTo>
                      <a:pt x="365" y="32"/>
                      <a:pt x="365" y="32"/>
                      <a:pt x="365" y="32"/>
                    </a:cubicBezTo>
                    <a:cubicBezTo>
                      <a:pt x="364" y="32"/>
                      <a:pt x="363" y="33"/>
                      <a:pt x="363" y="34"/>
                    </a:cubicBezTo>
                    <a:cubicBezTo>
                      <a:pt x="363" y="47"/>
                      <a:pt x="363" y="47"/>
                      <a:pt x="363" y="47"/>
                    </a:cubicBezTo>
                    <a:cubicBezTo>
                      <a:pt x="363" y="48"/>
                      <a:pt x="364" y="48"/>
                      <a:pt x="365" y="48"/>
                    </a:cubicBezTo>
                    <a:cubicBezTo>
                      <a:pt x="370" y="48"/>
                      <a:pt x="370" y="48"/>
                      <a:pt x="370" y="48"/>
                    </a:cubicBezTo>
                    <a:cubicBezTo>
                      <a:pt x="370" y="48"/>
                      <a:pt x="371" y="49"/>
                      <a:pt x="371" y="49"/>
                    </a:cubicBezTo>
                    <a:cubicBezTo>
                      <a:pt x="371" y="84"/>
                      <a:pt x="371" y="84"/>
                      <a:pt x="371" y="84"/>
                    </a:cubicBezTo>
                    <a:cubicBezTo>
                      <a:pt x="371" y="92"/>
                      <a:pt x="372" y="99"/>
                      <a:pt x="376" y="103"/>
                    </a:cubicBezTo>
                    <a:cubicBezTo>
                      <a:pt x="380" y="107"/>
                      <a:pt x="386" y="109"/>
                      <a:pt x="395" y="109"/>
                    </a:cubicBezTo>
                    <a:lnTo>
                      <a:pt x="403" y="109"/>
                    </a:lnTo>
                    <a:close/>
                    <a:moveTo>
                      <a:pt x="323" y="108"/>
                    </a:moveTo>
                    <a:cubicBezTo>
                      <a:pt x="324" y="108"/>
                      <a:pt x="325" y="107"/>
                      <a:pt x="325" y="106"/>
                    </a:cubicBezTo>
                    <a:cubicBezTo>
                      <a:pt x="325" y="66"/>
                      <a:pt x="325" y="66"/>
                      <a:pt x="325" y="66"/>
                    </a:cubicBezTo>
                    <a:cubicBezTo>
                      <a:pt x="325" y="61"/>
                      <a:pt x="325" y="57"/>
                      <a:pt x="327" y="55"/>
                    </a:cubicBezTo>
                    <a:cubicBezTo>
                      <a:pt x="329" y="52"/>
                      <a:pt x="332" y="50"/>
                      <a:pt x="336" y="50"/>
                    </a:cubicBezTo>
                    <a:cubicBezTo>
                      <a:pt x="340" y="50"/>
                      <a:pt x="343" y="51"/>
                      <a:pt x="347" y="54"/>
                    </a:cubicBezTo>
                    <a:cubicBezTo>
                      <a:pt x="348" y="54"/>
                      <a:pt x="349" y="54"/>
                      <a:pt x="349" y="53"/>
                    </a:cubicBezTo>
                    <a:cubicBezTo>
                      <a:pt x="358" y="37"/>
                      <a:pt x="358" y="37"/>
                      <a:pt x="358" y="37"/>
                    </a:cubicBezTo>
                    <a:cubicBezTo>
                      <a:pt x="358" y="37"/>
                      <a:pt x="358" y="36"/>
                      <a:pt x="358" y="35"/>
                    </a:cubicBezTo>
                    <a:cubicBezTo>
                      <a:pt x="356" y="34"/>
                      <a:pt x="354" y="33"/>
                      <a:pt x="352" y="32"/>
                    </a:cubicBezTo>
                    <a:cubicBezTo>
                      <a:pt x="349" y="31"/>
                      <a:pt x="347" y="31"/>
                      <a:pt x="344" y="31"/>
                    </a:cubicBezTo>
                    <a:cubicBezTo>
                      <a:pt x="340" y="31"/>
                      <a:pt x="336" y="32"/>
                      <a:pt x="332" y="33"/>
                    </a:cubicBezTo>
                    <a:cubicBezTo>
                      <a:pt x="329" y="35"/>
                      <a:pt x="326" y="37"/>
                      <a:pt x="325" y="40"/>
                    </a:cubicBezTo>
                    <a:cubicBezTo>
                      <a:pt x="325" y="40"/>
                      <a:pt x="325" y="40"/>
                      <a:pt x="325" y="40"/>
                    </a:cubicBezTo>
                    <a:cubicBezTo>
                      <a:pt x="325" y="34"/>
                      <a:pt x="325" y="34"/>
                      <a:pt x="325" y="34"/>
                    </a:cubicBezTo>
                    <a:cubicBezTo>
                      <a:pt x="325" y="33"/>
                      <a:pt x="324" y="32"/>
                      <a:pt x="323" y="32"/>
                    </a:cubicBezTo>
                    <a:cubicBezTo>
                      <a:pt x="304" y="32"/>
                      <a:pt x="304" y="32"/>
                      <a:pt x="304" y="32"/>
                    </a:cubicBezTo>
                    <a:cubicBezTo>
                      <a:pt x="303" y="32"/>
                      <a:pt x="303" y="33"/>
                      <a:pt x="303" y="34"/>
                    </a:cubicBezTo>
                    <a:cubicBezTo>
                      <a:pt x="303" y="106"/>
                      <a:pt x="303" y="106"/>
                      <a:pt x="303" y="106"/>
                    </a:cubicBezTo>
                    <a:cubicBezTo>
                      <a:pt x="303" y="107"/>
                      <a:pt x="303" y="108"/>
                      <a:pt x="304" y="108"/>
                    </a:cubicBezTo>
                    <a:lnTo>
                      <a:pt x="323" y="108"/>
                    </a:lnTo>
                    <a:close/>
                    <a:moveTo>
                      <a:pt x="241" y="85"/>
                    </a:moveTo>
                    <a:cubicBezTo>
                      <a:pt x="241" y="79"/>
                      <a:pt x="246" y="77"/>
                      <a:pt x="254" y="77"/>
                    </a:cubicBezTo>
                    <a:cubicBezTo>
                      <a:pt x="265" y="77"/>
                      <a:pt x="265" y="77"/>
                      <a:pt x="265" y="77"/>
                    </a:cubicBezTo>
                    <a:cubicBezTo>
                      <a:pt x="266" y="77"/>
                      <a:pt x="266" y="77"/>
                      <a:pt x="266" y="78"/>
                    </a:cubicBezTo>
                    <a:cubicBezTo>
                      <a:pt x="266" y="83"/>
                      <a:pt x="266" y="83"/>
                      <a:pt x="266" y="83"/>
                    </a:cubicBezTo>
                    <a:cubicBezTo>
                      <a:pt x="266" y="90"/>
                      <a:pt x="261" y="93"/>
                      <a:pt x="252" y="93"/>
                    </a:cubicBezTo>
                    <a:cubicBezTo>
                      <a:pt x="245" y="93"/>
                      <a:pt x="241" y="90"/>
                      <a:pt x="241" y="85"/>
                    </a:cubicBezTo>
                    <a:moveTo>
                      <a:pt x="285" y="108"/>
                    </a:moveTo>
                    <a:cubicBezTo>
                      <a:pt x="286" y="108"/>
                      <a:pt x="287" y="107"/>
                      <a:pt x="287" y="106"/>
                    </a:cubicBezTo>
                    <a:cubicBezTo>
                      <a:pt x="287" y="58"/>
                      <a:pt x="287" y="58"/>
                      <a:pt x="287" y="58"/>
                    </a:cubicBezTo>
                    <a:cubicBezTo>
                      <a:pt x="287" y="53"/>
                      <a:pt x="286" y="49"/>
                      <a:pt x="285" y="46"/>
                    </a:cubicBezTo>
                    <a:cubicBezTo>
                      <a:pt x="284" y="42"/>
                      <a:pt x="282" y="39"/>
                      <a:pt x="279" y="37"/>
                    </a:cubicBezTo>
                    <a:cubicBezTo>
                      <a:pt x="276" y="35"/>
                      <a:pt x="273" y="33"/>
                      <a:pt x="269" y="32"/>
                    </a:cubicBezTo>
                    <a:cubicBezTo>
                      <a:pt x="265" y="31"/>
                      <a:pt x="259" y="31"/>
                      <a:pt x="253" y="31"/>
                    </a:cubicBezTo>
                    <a:cubicBezTo>
                      <a:pt x="247" y="31"/>
                      <a:pt x="242" y="31"/>
                      <a:pt x="237" y="33"/>
                    </a:cubicBezTo>
                    <a:cubicBezTo>
                      <a:pt x="232" y="34"/>
                      <a:pt x="228" y="36"/>
                      <a:pt x="225" y="38"/>
                    </a:cubicBezTo>
                    <a:cubicBezTo>
                      <a:pt x="224" y="39"/>
                      <a:pt x="224" y="39"/>
                      <a:pt x="225" y="40"/>
                    </a:cubicBezTo>
                    <a:cubicBezTo>
                      <a:pt x="232" y="53"/>
                      <a:pt x="232" y="53"/>
                      <a:pt x="232" y="53"/>
                    </a:cubicBezTo>
                    <a:cubicBezTo>
                      <a:pt x="232" y="53"/>
                      <a:pt x="233" y="54"/>
                      <a:pt x="234" y="53"/>
                    </a:cubicBezTo>
                    <a:cubicBezTo>
                      <a:pt x="236" y="52"/>
                      <a:pt x="238" y="50"/>
                      <a:pt x="241" y="49"/>
                    </a:cubicBezTo>
                    <a:cubicBezTo>
                      <a:pt x="243" y="49"/>
                      <a:pt x="247" y="48"/>
                      <a:pt x="251" y="48"/>
                    </a:cubicBezTo>
                    <a:cubicBezTo>
                      <a:pt x="257" y="48"/>
                      <a:pt x="261" y="49"/>
                      <a:pt x="263" y="51"/>
                    </a:cubicBezTo>
                    <a:cubicBezTo>
                      <a:pt x="265" y="52"/>
                      <a:pt x="266" y="55"/>
                      <a:pt x="266" y="58"/>
                    </a:cubicBezTo>
                    <a:cubicBezTo>
                      <a:pt x="266" y="61"/>
                      <a:pt x="266" y="61"/>
                      <a:pt x="266" y="61"/>
                    </a:cubicBezTo>
                    <a:cubicBezTo>
                      <a:pt x="266" y="62"/>
                      <a:pt x="266" y="62"/>
                      <a:pt x="265" y="62"/>
                    </a:cubicBezTo>
                    <a:cubicBezTo>
                      <a:pt x="252" y="62"/>
                      <a:pt x="252" y="62"/>
                      <a:pt x="252" y="62"/>
                    </a:cubicBezTo>
                    <a:cubicBezTo>
                      <a:pt x="242" y="62"/>
                      <a:pt x="235" y="64"/>
                      <a:pt x="229" y="68"/>
                    </a:cubicBezTo>
                    <a:cubicBezTo>
                      <a:pt x="223" y="72"/>
                      <a:pt x="220" y="78"/>
                      <a:pt x="220" y="86"/>
                    </a:cubicBezTo>
                    <a:cubicBezTo>
                      <a:pt x="220" y="90"/>
                      <a:pt x="221" y="94"/>
                      <a:pt x="222" y="97"/>
                    </a:cubicBezTo>
                    <a:cubicBezTo>
                      <a:pt x="224" y="100"/>
                      <a:pt x="226" y="102"/>
                      <a:pt x="228" y="104"/>
                    </a:cubicBezTo>
                    <a:cubicBezTo>
                      <a:pt x="230" y="106"/>
                      <a:pt x="233" y="107"/>
                      <a:pt x="236" y="108"/>
                    </a:cubicBezTo>
                    <a:cubicBezTo>
                      <a:pt x="239" y="109"/>
                      <a:pt x="242" y="109"/>
                      <a:pt x="245" y="109"/>
                    </a:cubicBezTo>
                    <a:cubicBezTo>
                      <a:pt x="251" y="109"/>
                      <a:pt x="255" y="109"/>
                      <a:pt x="258" y="107"/>
                    </a:cubicBezTo>
                    <a:cubicBezTo>
                      <a:pt x="262" y="106"/>
                      <a:pt x="264" y="104"/>
                      <a:pt x="266" y="101"/>
                    </a:cubicBezTo>
                    <a:cubicBezTo>
                      <a:pt x="266" y="101"/>
                      <a:pt x="266" y="101"/>
                      <a:pt x="266" y="101"/>
                    </a:cubicBezTo>
                    <a:cubicBezTo>
                      <a:pt x="266" y="106"/>
                      <a:pt x="266" y="106"/>
                      <a:pt x="266" y="106"/>
                    </a:cubicBezTo>
                    <a:cubicBezTo>
                      <a:pt x="266" y="107"/>
                      <a:pt x="267" y="108"/>
                      <a:pt x="268" y="108"/>
                    </a:cubicBezTo>
                    <a:lnTo>
                      <a:pt x="285" y="108"/>
                    </a:lnTo>
                    <a:close/>
                    <a:moveTo>
                      <a:pt x="206" y="108"/>
                    </a:moveTo>
                    <a:cubicBezTo>
                      <a:pt x="207" y="108"/>
                      <a:pt x="208" y="107"/>
                      <a:pt x="208" y="106"/>
                    </a:cubicBezTo>
                    <a:cubicBezTo>
                      <a:pt x="208" y="59"/>
                      <a:pt x="208" y="59"/>
                      <a:pt x="208" y="59"/>
                    </a:cubicBezTo>
                    <a:cubicBezTo>
                      <a:pt x="208" y="50"/>
                      <a:pt x="205" y="44"/>
                      <a:pt x="201" y="38"/>
                    </a:cubicBezTo>
                    <a:cubicBezTo>
                      <a:pt x="196" y="33"/>
                      <a:pt x="190" y="31"/>
                      <a:pt x="181" y="31"/>
                    </a:cubicBezTo>
                    <a:cubicBezTo>
                      <a:pt x="176" y="31"/>
                      <a:pt x="171" y="31"/>
                      <a:pt x="167" y="33"/>
                    </a:cubicBezTo>
                    <a:cubicBezTo>
                      <a:pt x="163" y="35"/>
                      <a:pt x="160" y="37"/>
                      <a:pt x="157" y="40"/>
                    </a:cubicBezTo>
                    <a:cubicBezTo>
                      <a:pt x="157" y="40"/>
                      <a:pt x="157" y="40"/>
                      <a:pt x="157" y="40"/>
                    </a:cubicBezTo>
                    <a:cubicBezTo>
                      <a:pt x="153" y="34"/>
                      <a:pt x="146" y="31"/>
                      <a:pt x="137" y="31"/>
                    </a:cubicBezTo>
                    <a:cubicBezTo>
                      <a:pt x="132" y="31"/>
                      <a:pt x="128" y="31"/>
                      <a:pt x="125" y="33"/>
                    </a:cubicBezTo>
                    <a:cubicBezTo>
                      <a:pt x="122" y="35"/>
                      <a:pt x="119" y="37"/>
                      <a:pt x="117" y="39"/>
                    </a:cubicBezTo>
                    <a:cubicBezTo>
                      <a:pt x="117" y="39"/>
                      <a:pt x="117" y="39"/>
                      <a:pt x="117" y="39"/>
                    </a:cubicBezTo>
                    <a:cubicBezTo>
                      <a:pt x="117" y="34"/>
                      <a:pt x="117" y="34"/>
                      <a:pt x="117" y="34"/>
                    </a:cubicBezTo>
                    <a:cubicBezTo>
                      <a:pt x="117" y="33"/>
                      <a:pt x="117" y="32"/>
                      <a:pt x="116" y="32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96" y="32"/>
                      <a:pt x="95" y="33"/>
                      <a:pt x="95" y="34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95" y="107"/>
                      <a:pt x="96" y="108"/>
                      <a:pt x="97" y="108"/>
                    </a:cubicBezTo>
                    <a:cubicBezTo>
                      <a:pt x="116" y="108"/>
                      <a:pt x="116" y="108"/>
                      <a:pt x="116" y="108"/>
                    </a:cubicBezTo>
                    <a:cubicBezTo>
                      <a:pt x="117" y="108"/>
                      <a:pt x="117" y="107"/>
                      <a:pt x="117" y="106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7" y="59"/>
                      <a:pt x="118" y="55"/>
                      <a:pt x="120" y="53"/>
                    </a:cubicBezTo>
                    <a:cubicBezTo>
                      <a:pt x="122" y="50"/>
                      <a:pt x="125" y="49"/>
                      <a:pt x="129" y="49"/>
                    </a:cubicBezTo>
                    <a:cubicBezTo>
                      <a:pt x="133" y="49"/>
                      <a:pt x="136" y="50"/>
                      <a:pt x="138" y="53"/>
                    </a:cubicBezTo>
                    <a:cubicBezTo>
                      <a:pt x="140" y="55"/>
                      <a:pt x="141" y="59"/>
                      <a:pt x="141" y="63"/>
                    </a:cubicBezTo>
                    <a:cubicBezTo>
                      <a:pt x="141" y="106"/>
                      <a:pt x="141" y="106"/>
                      <a:pt x="141" y="106"/>
                    </a:cubicBezTo>
                    <a:cubicBezTo>
                      <a:pt x="141" y="107"/>
                      <a:pt x="141" y="108"/>
                      <a:pt x="142" y="108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8"/>
                      <a:pt x="162" y="107"/>
                      <a:pt x="162" y="106"/>
                    </a:cubicBezTo>
                    <a:cubicBezTo>
                      <a:pt x="162" y="63"/>
                      <a:pt x="162" y="63"/>
                      <a:pt x="162" y="63"/>
                    </a:cubicBezTo>
                    <a:cubicBezTo>
                      <a:pt x="162" y="59"/>
                      <a:pt x="163" y="55"/>
                      <a:pt x="166" y="53"/>
                    </a:cubicBezTo>
                    <a:cubicBezTo>
                      <a:pt x="168" y="50"/>
                      <a:pt x="170" y="49"/>
                      <a:pt x="174" y="49"/>
                    </a:cubicBezTo>
                    <a:cubicBezTo>
                      <a:pt x="178" y="49"/>
                      <a:pt x="181" y="50"/>
                      <a:pt x="183" y="53"/>
                    </a:cubicBezTo>
                    <a:cubicBezTo>
                      <a:pt x="185" y="55"/>
                      <a:pt x="186" y="59"/>
                      <a:pt x="186" y="63"/>
                    </a:cubicBezTo>
                    <a:cubicBezTo>
                      <a:pt x="186" y="106"/>
                      <a:pt x="186" y="106"/>
                      <a:pt x="186" y="106"/>
                    </a:cubicBezTo>
                    <a:cubicBezTo>
                      <a:pt x="186" y="107"/>
                      <a:pt x="186" y="108"/>
                      <a:pt x="188" y="108"/>
                    </a:cubicBezTo>
                    <a:lnTo>
                      <a:pt x="206" y="108"/>
                    </a:lnTo>
                    <a:close/>
                    <a:moveTo>
                      <a:pt x="60" y="107"/>
                    </a:moveTo>
                    <a:cubicBezTo>
                      <a:pt x="65" y="105"/>
                      <a:pt x="69" y="103"/>
                      <a:pt x="73" y="100"/>
                    </a:cubicBezTo>
                    <a:cubicBezTo>
                      <a:pt x="76" y="97"/>
                      <a:pt x="79" y="94"/>
                      <a:pt x="81" y="89"/>
                    </a:cubicBezTo>
                    <a:cubicBezTo>
                      <a:pt x="83" y="85"/>
                      <a:pt x="83" y="81"/>
                      <a:pt x="83" y="76"/>
                    </a:cubicBezTo>
                    <a:cubicBezTo>
                      <a:pt x="83" y="66"/>
                      <a:pt x="81" y="59"/>
                      <a:pt x="75" y="54"/>
                    </a:cubicBezTo>
                    <a:cubicBezTo>
                      <a:pt x="69" y="49"/>
                      <a:pt x="61" y="45"/>
                      <a:pt x="50" y="44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38" y="42"/>
                      <a:pt x="34" y="41"/>
                      <a:pt x="32" y="39"/>
                    </a:cubicBezTo>
                    <a:cubicBezTo>
                      <a:pt x="29" y="37"/>
                      <a:pt x="28" y="35"/>
                      <a:pt x="28" y="32"/>
                    </a:cubicBezTo>
                    <a:cubicBezTo>
                      <a:pt x="28" y="28"/>
                      <a:pt x="29" y="26"/>
                      <a:pt x="32" y="23"/>
                    </a:cubicBezTo>
                    <a:cubicBezTo>
                      <a:pt x="34" y="21"/>
                      <a:pt x="37" y="20"/>
                      <a:pt x="42" y="20"/>
                    </a:cubicBezTo>
                    <a:cubicBezTo>
                      <a:pt x="46" y="20"/>
                      <a:pt x="51" y="21"/>
                      <a:pt x="55" y="22"/>
                    </a:cubicBezTo>
                    <a:cubicBezTo>
                      <a:pt x="59" y="23"/>
                      <a:pt x="63" y="25"/>
                      <a:pt x="67" y="28"/>
                    </a:cubicBezTo>
                    <a:cubicBezTo>
                      <a:pt x="68" y="29"/>
                      <a:pt x="68" y="29"/>
                      <a:pt x="69" y="28"/>
                    </a:cubicBezTo>
                    <a:cubicBezTo>
                      <a:pt x="78" y="14"/>
                      <a:pt x="78" y="14"/>
                      <a:pt x="78" y="14"/>
                    </a:cubicBezTo>
                    <a:cubicBezTo>
                      <a:pt x="79" y="13"/>
                      <a:pt x="79" y="12"/>
                      <a:pt x="78" y="11"/>
                    </a:cubicBezTo>
                    <a:cubicBezTo>
                      <a:pt x="74" y="8"/>
                      <a:pt x="68" y="5"/>
                      <a:pt x="62" y="3"/>
                    </a:cubicBezTo>
                    <a:cubicBezTo>
                      <a:pt x="56" y="1"/>
                      <a:pt x="49" y="0"/>
                      <a:pt x="42" y="0"/>
                    </a:cubicBezTo>
                    <a:cubicBezTo>
                      <a:pt x="36" y="0"/>
                      <a:pt x="31" y="1"/>
                      <a:pt x="27" y="2"/>
                    </a:cubicBezTo>
                    <a:cubicBezTo>
                      <a:pt x="22" y="4"/>
                      <a:pt x="18" y="6"/>
                      <a:pt x="15" y="9"/>
                    </a:cubicBezTo>
                    <a:cubicBezTo>
                      <a:pt x="12" y="12"/>
                      <a:pt x="9" y="15"/>
                      <a:pt x="7" y="19"/>
                    </a:cubicBezTo>
                    <a:cubicBezTo>
                      <a:pt x="5" y="23"/>
                      <a:pt x="5" y="28"/>
                      <a:pt x="5" y="33"/>
                    </a:cubicBezTo>
                    <a:cubicBezTo>
                      <a:pt x="5" y="42"/>
                      <a:pt x="7" y="49"/>
                      <a:pt x="13" y="54"/>
                    </a:cubicBezTo>
                    <a:cubicBezTo>
                      <a:pt x="19" y="60"/>
                      <a:pt x="27" y="63"/>
                      <a:pt x="38" y="64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50" y="66"/>
                      <a:pt x="54" y="67"/>
                      <a:pt x="57" y="69"/>
                    </a:cubicBezTo>
                    <a:cubicBezTo>
                      <a:pt x="59" y="71"/>
                      <a:pt x="60" y="74"/>
                      <a:pt x="60" y="77"/>
                    </a:cubicBezTo>
                    <a:cubicBezTo>
                      <a:pt x="60" y="81"/>
                      <a:pt x="59" y="84"/>
                      <a:pt x="56" y="86"/>
                    </a:cubicBezTo>
                    <a:cubicBezTo>
                      <a:pt x="53" y="88"/>
                      <a:pt x="48" y="89"/>
                      <a:pt x="43" y="89"/>
                    </a:cubicBezTo>
                    <a:cubicBezTo>
                      <a:pt x="37" y="89"/>
                      <a:pt x="32" y="88"/>
                      <a:pt x="27" y="86"/>
                    </a:cubicBezTo>
                    <a:cubicBezTo>
                      <a:pt x="23" y="84"/>
                      <a:pt x="19" y="81"/>
                      <a:pt x="15" y="79"/>
                    </a:cubicBezTo>
                    <a:cubicBezTo>
                      <a:pt x="14" y="78"/>
                      <a:pt x="13" y="78"/>
                      <a:pt x="13" y="79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0" y="93"/>
                      <a:pt x="0" y="94"/>
                      <a:pt x="1" y="95"/>
                    </a:cubicBezTo>
                    <a:cubicBezTo>
                      <a:pt x="3" y="97"/>
                      <a:pt x="6" y="99"/>
                      <a:pt x="9" y="101"/>
                    </a:cubicBezTo>
                    <a:cubicBezTo>
                      <a:pt x="12" y="102"/>
                      <a:pt x="15" y="104"/>
                      <a:pt x="18" y="105"/>
                    </a:cubicBezTo>
                    <a:cubicBezTo>
                      <a:pt x="22" y="106"/>
                      <a:pt x="26" y="107"/>
                      <a:pt x="30" y="108"/>
                    </a:cubicBezTo>
                    <a:cubicBezTo>
                      <a:pt x="34" y="109"/>
                      <a:pt x="38" y="109"/>
                      <a:pt x="42" y="109"/>
                    </a:cubicBezTo>
                    <a:cubicBezTo>
                      <a:pt x="49" y="109"/>
                      <a:pt x="55" y="109"/>
                      <a:pt x="60" y="10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9" name="Freeform 184"/>
              <p:cNvSpPr>
                <a:spLocks noEditPoints="1"/>
              </p:cNvSpPr>
              <p:nvPr/>
            </p:nvSpPr>
            <p:spPr bwMode="auto">
              <a:xfrm>
                <a:off x="963" y="485"/>
                <a:ext cx="1242" cy="59"/>
              </a:xfrm>
              <a:custGeom>
                <a:avLst/>
                <a:gdLst>
                  <a:gd name="T0" fmla="*/ 684 w 705"/>
                  <a:gd name="T1" fmla="*/ 33 h 33"/>
                  <a:gd name="T2" fmla="*/ 662 w 705"/>
                  <a:gd name="T3" fmla="*/ 30 h 33"/>
                  <a:gd name="T4" fmla="*/ 650 w 705"/>
                  <a:gd name="T5" fmla="*/ 12 h 33"/>
                  <a:gd name="T6" fmla="*/ 667 w 705"/>
                  <a:gd name="T7" fmla="*/ 7 h 33"/>
                  <a:gd name="T8" fmla="*/ 667 w 705"/>
                  <a:gd name="T9" fmla="*/ 3 h 33"/>
                  <a:gd name="T10" fmla="*/ 648 w 705"/>
                  <a:gd name="T11" fmla="*/ 17 h 33"/>
                  <a:gd name="T12" fmla="*/ 667 w 705"/>
                  <a:gd name="T13" fmla="*/ 30 h 33"/>
                  <a:gd name="T14" fmla="*/ 634 w 705"/>
                  <a:gd name="T15" fmla="*/ 33 h 33"/>
                  <a:gd name="T16" fmla="*/ 613 w 705"/>
                  <a:gd name="T17" fmla="*/ 33 h 33"/>
                  <a:gd name="T18" fmla="*/ 601 w 705"/>
                  <a:gd name="T19" fmla="*/ 33 h 33"/>
                  <a:gd name="T20" fmla="*/ 601 w 705"/>
                  <a:gd name="T21" fmla="*/ 33 h 33"/>
                  <a:gd name="T22" fmla="*/ 545 w 705"/>
                  <a:gd name="T23" fmla="*/ 33 h 33"/>
                  <a:gd name="T24" fmla="*/ 532 w 705"/>
                  <a:gd name="T25" fmla="*/ 16 h 33"/>
                  <a:gd name="T26" fmla="*/ 486 w 705"/>
                  <a:gd name="T27" fmla="*/ 33 h 33"/>
                  <a:gd name="T28" fmla="*/ 468 w 705"/>
                  <a:gd name="T29" fmla="*/ 14 h 33"/>
                  <a:gd name="T30" fmla="*/ 469 w 705"/>
                  <a:gd name="T31" fmla="*/ 6 h 33"/>
                  <a:gd name="T32" fmla="*/ 469 w 705"/>
                  <a:gd name="T33" fmla="*/ 3 h 33"/>
                  <a:gd name="T34" fmla="*/ 469 w 705"/>
                  <a:gd name="T35" fmla="*/ 33 h 33"/>
                  <a:gd name="T36" fmla="*/ 423 w 705"/>
                  <a:gd name="T37" fmla="*/ 30 h 33"/>
                  <a:gd name="T38" fmla="*/ 419 w 705"/>
                  <a:gd name="T39" fmla="*/ 7 h 33"/>
                  <a:gd name="T40" fmla="*/ 435 w 705"/>
                  <a:gd name="T41" fmla="*/ 12 h 33"/>
                  <a:gd name="T42" fmla="*/ 427 w 705"/>
                  <a:gd name="T43" fmla="*/ 0 h 33"/>
                  <a:gd name="T44" fmla="*/ 416 w 705"/>
                  <a:gd name="T45" fmla="*/ 25 h 33"/>
                  <a:gd name="T46" fmla="*/ 437 w 705"/>
                  <a:gd name="T47" fmla="*/ 25 h 33"/>
                  <a:gd name="T48" fmla="*/ 390 w 705"/>
                  <a:gd name="T49" fmla="*/ 33 h 33"/>
                  <a:gd name="T50" fmla="*/ 374 w 705"/>
                  <a:gd name="T51" fmla="*/ 18 h 33"/>
                  <a:gd name="T52" fmla="*/ 358 w 705"/>
                  <a:gd name="T53" fmla="*/ 9 h 33"/>
                  <a:gd name="T54" fmla="*/ 371 w 705"/>
                  <a:gd name="T55" fmla="*/ 1 h 33"/>
                  <a:gd name="T56" fmla="*/ 370 w 705"/>
                  <a:gd name="T57" fmla="*/ 19 h 33"/>
                  <a:gd name="T58" fmla="*/ 359 w 705"/>
                  <a:gd name="T59" fmla="*/ 29 h 33"/>
                  <a:gd name="T60" fmla="*/ 376 w 705"/>
                  <a:gd name="T61" fmla="*/ 24 h 33"/>
                  <a:gd name="T62" fmla="*/ 320 w 705"/>
                  <a:gd name="T63" fmla="*/ 33 h 33"/>
                  <a:gd name="T64" fmla="*/ 304 w 705"/>
                  <a:gd name="T65" fmla="*/ 23 h 33"/>
                  <a:gd name="T66" fmla="*/ 308 w 705"/>
                  <a:gd name="T67" fmla="*/ 33 h 33"/>
                  <a:gd name="T68" fmla="*/ 267 w 705"/>
                  <a:gd name="T69" fmla="*/ 3 h 33"/>
                  <a:gd name="T70" fmla="*/ 275 w 705"/>
                  <a:gd name="T71" fmla="*/ 15 h 33"/>
                  <a:gd name="T72" fmla="*/ 258 w 705"/>
                  <a:gd name="T73" fmla="*/ 33 h 33"/>
                  <a:gd name="T74" fmla="*/ 223 w 705"/>
                  <a:gd name="T75" fmla="*/ 3 h 33"/>
                  <a:gd name="T76" fmla="*/ 195 w 705"/>
                  <a:gd name="T77" fmla="*/ 0 h 33"/>
                  <a:gd name="T78" fmla="*/ 197 w 705"/>
                  <a:gd name="T79" fmla="*/ 33 h 33"/>
                  <a:gd name="T80" fmla="*/ 143 w 705"/>
                  <a:gd name="T81" fmla="*/ 28 h 33"/>
                  <a:gd name="T82" fmla="*/ 143 w 705"/>
                  <a:gd name="T83" fmla="*/ 5 h 33"/>
                  <a:gd name="T84" fmla="*/ 158 w 705"/>
                  <a:gd name="T85" fmla="*/ 17 h 33"/>
                  <a:gd name="T86" fmla="*/ 144 w 705"/>
                  <a:gd name="T87" fmla="*/ 1 h 33"/>
                  <a:gd name="T88" fmla="*/ 139 w 705"/>
                  <a:gd name="T89" fmla="*/ 27 h 33"/>
                  <a:gd name="T90" fmla="*/ 160 w 705"/>
                  <a:gd name="T91" fmla="*/ 21 h 33"/>
                  <a:gd name="T92" fmla="*/ 109 w 705"/>
                  <a:gd name="T93" fmla="*/ 21 h 33"/>
                  <a:gd name="T94" fmla="*/ 93 w 705"/>
                  <a:gd name="T95" fmla="*/ 13 h 33"/>
                  <a:gd name="T96" fmla="*/ 108 w 705"/>
                  <a:gd name="T97" fmla="*/ 4 h 33"/>
                  <a:gd name="T98" fmla="*/ 102 w 705"/>
                  <a:gd name="T99" fmla="*/ 18 h 33"/>
                  <a:gd name="T100" fmla="*/ 94 w 705"/>
                  <a:gd name="T101" fmla="*/ 30 h 33"/>
                  <a:gd name="T102" fmla="*/ 107 w 705"/>
                  <a:gd name="T103" fmla="*/ 31 h 33"/>
                  <a:gd name="T104" fmla="*/ 70 w 705"/>
                  <a:gd name="T105" fmla="*/ 16 h 33"/>
                  <a:gd name="T106" fmla="*/ 72 w 705"/>
                  <a:gd name="T107" fmla="*/ 3 h 33"/>
                  <a:gd name="T108" fmla="*/ 60 w 705"/>
                  <a:gd name="T109" fmla="*/ 15 h 33"/>
                  <a:gd name="T110" fmla="*/ 74 w 705"/>
                  <a:gd name="T111" fmla="*/ 29 h 33"/>
                  <a:gd name="T112" fmla="*/ 61 w 705"/>
                  <a:gd name="T113" fmla="*/ 32 h 33"/>
                  <a:gd name="T114" fmla="*/ 42 w 705"/>
                  <a:gd name="T115" fmla="*/ 33 h 33"/>
                  <a:gd name="T116" fmla="*/ 0 w 705"/>
                  <a:gd name="T117" fmla="*/ 0 h 33"/>
                  <a:gd name="T118" fmla="*/ 28 w 705"/>
                  <a:gd name="T11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5" h="33">
                    <a:moveTo>
                      <a:pt x="705" y="33"/>
                    </a:moveTo>
                    <a:cubicBezTo>
                      <a:pt x="705" y="0"/>
                      <a:pt x="705" y="0"/>
                      <a:pt x="705" y="0"/>
                    </a:cubicBezTo>
                    <a:cubicBezTo>
                      <a:pt x="703" y="0"/>
                      <a:pt x="703" y="0"/>
                      <a:pt x="703" y="0"/>
                    </a:cubicBezTo>
                    <a:cubicBezTo>
                      <a:pt x="703" y="28"/>
                      <a:pt x="703" y="28"/>
                      <a:pt x="703" y="28"/>
                    </a:cubicBezTo>
                    <a:cubicBezTo>
                      <a:pt x="684" y="0"/>
                      <a:pt x="684" y="0"/>
                      <a:pt x="684" y="0"/>
                    </a:cubicBezTo>
                    <a:cubicBezTo>
                      <a:pt x="682" y="0"/>
                      <a:pt x="682" y="0"/>
                      <a:pt x="682" y="0"/>
                    </a:cubicBezTo>
                    <a:cubicBezTo>
                      <a:pt x="682" y="33"/>
                      <a:pt x="682" y="33"/>
                      <a:pt x="682" y="33"/>
                    </a:cubicBezTo>
                    <a:cubicBezTo>
                      <a:pt x="684" y="33"/>
                      <a:pt x="684" y="33"/>
                      <a:pt x="684" y="33"/>
                    </a:cubicBezTo>
                    <a:cubicBezTo>
                      <a:pt x="684" y="5"/>
                      <a:pt x="684" y="5"/>
                      <a:pt x="684" y="5"/>
                    </a:cubicBezTo>
                    <a:cubicBezTo>
                      <a:pt x="703" y="33"/>
                      <a:pt x="703" y="33"/>
                      <a:pt x="703" y="33"/>
                    </a:cubicBezTo>
                    <a:lnTo>
                      <a:pt x="705" y="33"/>
                    </a:lnTo>
                    <a:close/>
                    <a:moveTo>
                      <a:pt x="668" y="21"/>
                    </a:moveTo>
                    <a:cubicBezTo>
                      <a:pt x="668" y="22"/>
                      <a:pt x="667" y="23"/>
                      <a:pt x="667" y="24"/>
                    </a:cubicBezTo>
                    <a:cubicBezTo>
                      <a:pt x="667" y="25"/>
                      <a:pt x="667" y="26"/>
                      <a:pt x="667" y="27"/>
                    </a:cubicBezTo>
                    <a:cubicBezTo>
                      <a:pt x="666" y="27"/>
                      <a:pt x="666" y="28"/>
                      <a:pt x="665" y="28"/>
                    </a:cubicBezTo>
                    <a:cubicBezTo>
                      <a:pt x="664" y="29"/>
                      <a:pt x="663" y="30"/>
                      <a:pt x="662" y="30"/>
                    </a:cubicBezTo>
                    <a:cubicBezTo>
                      <a:pt x="661" y="31"/>
                      <a:pt x="660" y="31"/>
                      <a:pt x="659" y="31"/>
                    </a:cubicBezTo>
                    <a:cubicBezTo>
                      <a:pt x="658" y="31"/>
                      <a:pt x="657" y="31"/>
                      <a:pt x="656" y="30"/>
                    </a:cubicBezTo>
                    <a:cubicBezTo>
                      <a:pt x="655" y="30"/>
                      <a:pt x="654" y="29"/>
                      <a:pt x="653" y="28"/>
                    </a:cubicBezTo>
                    <a:cubicBezTo>
                      <a:pt x="652" y="28"/>
                      <a:pt x="652" y="27"/>
                      <a:pt x="651" y="27"/>
                    </a:cubicBezTo>
                    <a:cubicBezTo>
                      <a:pt x="651" y="26"/>
                      <a:pt x="651" y="25"/>
                      <a:pt x="651" y="24"/>
                    </a:cubicBezTo>
                    <a:cubicBezTo>
                      <a:pt x="650" y="23"/>
                      <a:pt x="650" y="22"/>
                      <a:pt x="650" y="21"/>
                    </a:cubicBezTo>
                    <a:cubicBezTo>
                      <a:pt x="650" y="20"/>
                      <a:pt x="650" y="18"/>
                      <a:pt x="650" y="17"/>
                    </a:cubicBezTo>
                    <a:cubicBezTo>
                      <a:pt x="650" y="15"/>
                      <a:pt x="650" y="13"/>
                      <a:pt x="650" y="12"/>
                    </a:cubicBezTo>
                    <a:cubicBezTo>
                      <a:pt x="650" y="11"/>
                      <a:pt x="650" y="10"/>
                      <a:pt x="651" y="9"/>
                    </a:cubicBezTo>
                    <a:cubicBezTo>
                      <a:pt x="651" y="8"/>
                      <a:pt x="651" y="7"/>
                      <a:pt x="651" y="7"/>
                    </a:cubicBezTo>
                    <a:cubicBezTo>
                      <a:pt x="652" y="6"/>
                      <a:pt x="652" y="5"/>
                      <a:pt x="653" y="5"/>
                    </a:cubicBezTo>
                    <a:cubicBezTo>
                      <a:pt x="654" y="4"/>
                      <a:pt x="655" y="3"/>
                      <a:pt x="656" y="3"/>
                    </a:cubicBezTo>
                    <a:cubicBezTo>
                      <a:pt x="657" y="2"/>
                      <a:pt x="658" y="2"/>
                      <a:pt x="659" y="2"/>
                    </a:cubicBezTo>
                    <a:cubicBezTo>
                      <a:pt x="660" y="2"/>
                      <a:pt x="661" y="2"/>
                      <a:pt x="662" y="3"/>
                    </a:cubicBezTo>
                    <a:cubicBezTo>
                      <a:pt x="663" y="3"/>
                      <a:pt x="664" y="4"/>
                      <a:pt x="665" y="5"/>
                    </a:cubicBezTo>
                    <a:cubicBezTo>
                      <a:pt x="666" y="5"/>
                      <a:pt x="666" y="6"/>
                      <a:pt x="667" y="7"/>
                    </a:cubicBezTo>
                    <a:cubicBezTo>
                      <a:pt x="667" y="7"/>
                      <a:pt x="667" y="8"/>
                      <a:pt x="667" y="9"/>
                    </a:cubicBezTo>
                    <a:cubicBezTo>
                      <a:pt x="667" y="10"/>
                      <a:pt x="668" y="11"/>
                      <a:pt x="668" y="12"/>
                    </a:cubicBezTo>
                    <a:cubicBezTo>
                      <a:pt x="668" y="13"/>
                      <a:pt x="668" y="15"/>
                      <a:pt x="668" y="17"/>
                    </a:cubicBezTo>
                    <a:cubicBezTo>
                      <a:pt x="668" y="18"/>
                      <a:pt x="668" y="20"/>
                      <a:pt x="668" y="21"/>
                    </a:cubicBezTo>
                    <a:moveTo>
                      <a:pt x="670" y="12"/>
                    </a:moveTo>
                    <a:cubicBezTo>
                      <a:pt x="670" y="11"/>
                      <a:pt x="670" y="9"/>
                      <a:pt x="670" y="8"/>
                    </a:cubicBezTo>
                    <a:cubicBezTo>
                      <a:pt x="670" y="7"/>
                      <a:pt x="669" y="6"/>
                      <a:pt x="669" y="6"/>
                    </a:cubicBezTo>
                    <a:cubicBezTo>
                      <a:pt x="668" y="5"/>
                      <a:pt x="668" y="4"/>
                      <a:pt x="667" y="3"/>
                    </a:cubicBezTo>
                    <a:cubicBezTo>
                      <a:pt x="666" y="2"/>
                      <a:pt x="665" y="1"/>
                      <a:pt x="663" y="1"/>
                    </a:cubicBezTo>
                    <a:cubicBezTo>
                      <a:pt x="662" y="0"/>
                      <a:pt x="661" y="0"/>
                      <a:pt x="659" y="0"/>
                    </a:cubicBezTo>
                    <a:cubicBezTo>
                      <a:pt x="657" y="0"/>
                      <a:pt x="656" y="0"/>
                      <a:pt x="655" y="1"/>
                    </a:cubicBezTo>
                    <a:cubicBezTo>
                      <a:pt x="653" y="1"/>
                      <a:pt x="652" y="2"/>
                      <a:pt x="651" y="3"/>
                    </a:cubicBezTo>
                    <a:cubicBezTo>
                      <a:pt x="650" y="4"/>
                      <a:pt x="650" y="5"/>
                      <a:pt x="649" y="6"/>
                    </a:cubicBezTo>
                    <a:cubicBezTo>
                      <a:pt x="649" y="6"/>
                      <a:pt x="648" y="7"/>
                      <a:pt x="648" y="8"/>
                    </a:cubicBezTo>
                    <a:cubicBezTo>
                      <a:pt x="648" y="9"/>
                      <a:pt x="648" y="11"/>
                      <a:pt x="648" y="12"/>
                    </a:cubicBezTo>
                    <a:cubicBezTo>
                      <a:pt x="648" y="13"/>
                      <a:pt x="648" y="15"/>
                      <a:pt x="648" y="17"/>
                    </a:cubicBezTo>
                    <a:cubicBezTo>
                      <a:pt x="648" y="18"/>
                      <a:pt x="648" y="20"/>
                      <a:pt x="648" y="21"/>
                    </a:cubicBezTo>
                    <a:cubicBezTo>
                      <a:pt x="648" y="23"/>
                      <a:pt x="648" y="24"/>
                      <a:pt x="648" y="25"/>
                    </a:cubicBezTo>
                    <a:cubicBezTo>
                      <a:pt x="648" y="26"/>
                      <a:pt x="649" y="27"/>
                      <a:pt x="649" y="27"/>
                    </a:cubicBezTo>
                    <a:cubicBezTo>
                      <a:pt x="650" y="28"/>
                      <a:pt x="650" y="29"/>
                      <a:pt x="651" y="30"/>
                    </a:cubicBezTo>
                    <a:cubicBezTo>
                      <a:pt x="652" y="31"/>
                      <a:pt x="653" y="32"/>
                      <a:pt x="655" y="32"/>
                    </a:cubicBezTo>
                    <a:cubicBezTo>
                      <a:pt x="656" y="33"/>
                      <a:pt x="657" y="33"/>
                      <a:pt x="659" y="33"/>
                    </a:cubicBezTo>
                    <a:cubicBezTo>
                      <a:pt x="661" y="33"/>
                      <a:pt x="662" y="33"/>
                      <a:pt x="663" y="32"/>
                    </a:cubicBezTo>
                    <a:cubicBezTo>
                      <a:pt x="665" y="32"/>
                      <a:pt x="666" y="31"/>
                      <a:pt x="667" y="30"/>
                    </a:cubicBezTo>
                    <a:cubicBezTo>
                      <a:pt x="668" y="29"/>
                      <a:pt x="668" y="28"/>
                      <a:pt x="669" y="27"/>
                    </a:cubicBezTo>
                    <a:cubicBezTo>
                      <a:pt x="669" y="27"/>
                      <a:pt x="670" y="26"/>
                      <a:pt x="670" y="25"/>
                    </a:cubicBezTo>
                    <a:cubicBezTo>
                      <a:pt x="670" y="24"/>
                      <a:pt x="670" y="23"/>
                      <a:pt x="670" y="21"/>
                    </a:cubicBezTo>
                    <a:cubicBezTo>
                      <a:pt x="670" y="20"/>
                      <a:pt x="670" y="18"/>
                      <a:pt x="670" y="17"/>
                    </a:cubicBezTo>
                    <a:cubicBezTo>
                      <a:pt x="670" y="15"/>
                      <a:pt x="670" y="13"/>
                      <a:pt x="670" y="12"/>
                    </a:cubicBezTo>
                    <a:moveTo>
                      <a:pt x="636" y="0"/>
                    </a:moveTo>
                    <a:cubicBezTo>
                      <a:pt x="634" y="0"/>
                      <a:pt x="634" y="0"/>
                      <a:pt x="634" y="0"/>
                    </a:cubicBezTo>
                    <a:cubicBezTo>
                      <a:pt x="634" y="33"/>
                      <a:pt x="634" y="33"/>
                      <a:pt x="634" y="33"/>
                    </a:cubicBezTo>
                    <a:cubicBezTo>
                      <a:pt x="636" y="33"/>
                      <a:pt x="636" y="33"/>
                      <a:pt x="636" y="33"/>
                    </a:cubicBezTo>
                    <a:lnTo>
                      <a:pt x="636" y="0"/>
                    </a:lnTo>
                    <a:close/>
                    <a:moveTo>
                      <a:pt x="625" y="3"/>
                    </a:moveTo>
                    <a:cubicBezTo>
                      <a:pt x="625" y="0"/>
                      <a:pt x="625" y="0"/>
                      <a:pt x="625" y="0"/>
                    </a:cubicBezTo>
                    <a:cubicBezTo>
                      <a:pt x="603" y="0"/>
                      <a:pt x="603" y="0"/>
                      <a:pt x="603" y="0"/>
                    </a:cubicBezTo>
                    <a:cubicBezTo>
                      <a:pt x="603" y="3"/>
                      <a:pt x="603" y="3"/>
                      <a:pt x="603" y="3"/>
                    </a:cubicBezTo>
                    <a:cubicBezTo>
                      <a:pt x="613" y="3"/>
                      <a:pt x="613" y="3"/>
                      <a:pt x="613" y="3"/>
                    </a:cubicBezTo>
                    <a:cubicBezTo>
                      <a:pt x="613" y="33"/>
                      <a:pt x="613" y="33"/>
                      <a:pt x="613" y="33"/>
                    </a:cubicBezTo>
                    <a:cubicBezTo>
                      <a:pt x="615" y="33"/>
                      <a:pt x="615" y="33"/>
                      <a:pt x="615" y="33"/>
                    </a:cubicBezTo>
                    <a:cubicBezTo>
                      <a:pt x="615" y="3"/>
                      <a:pt x="615" y="3"/>
                      <a:pt x="615" y="3"/>
                    </a:cubicBezTo>
                    <a:lnTo>
                      <a:pt x="625" y="3"/>
                    </a:lnTo>
                    <a:close/>
                    <a:moveTo>
                      <a:pt x="595" y="23"/>
                    </a:moveTo>
                    <a:cubicBezTo>
                      <a:pt x="581" y="23"/>
                      <a:pt x="581" y="23"/>
                      <a:pt x="581" y="23"/>
                    </a:cubicBezTo>
                    <a:cubicBezTo>
                      <a:pt x="588" y="4"/>
                      <a:pt x="588" y="4"/>
                      <a:pt x="588" y="4"/>
                    </a:cubicBezTo>
                    <a:lnTo>
                      <a:pt x="595" y="23"/>
                    </a:lnTo>
                    <a:close/>
                    <a:moveTo>
                      <a:pt x="601" y="33"/>
                    </a:moveTo>
                    <a:cubicBezTo>
                      <a:pt x="589" y="0"/>
                      <a:pt x="589" y="0"/>
                      <a:pt x="589" y="0"/>
                    </a:cubicBezTo>
                    <a:cubicBezTo>
                      <a:pt x="587" y="0"/>
                      <a:pt x="587" y="0"/>
                      <a:pt x="587" y="0"/>
                    </a:cubicBezTo>
                    <a:cubicBezTo>
                      <a:pt x="575" y="33"/>
                      <a:pt x="575" y="33"/>
                      <a:pt x="575" y="33"/>
                    </a:cubicBezTo>
                    <a:cubicBezTo>
                      <a:pt x="577" y="33"/>
                      <a:pt x="577" y="33"/>
                      <a:pt x="577" y="3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95" y="25"/>
                      <a:pt x="595" y="25"/>
                      <a:pt x="595" y="25"/>
                    </a:cubicBezTo>
                    <a:cubicBezTo>
                      <a:pt x="598" y="33"/>
                      <a:pt x="598" y="33"/>
                      <a:pt x="598" y="33"/>
                    </a:cubicBezTo>
                    <a:lnTo>
                      <a:pt x="601" y="33"/>
                    </a:lnTo>
                    <a:close/>
                    <a:moveTo>
                      <a:pt x="566" y="33"/>
                    </a:moveTo>
                    <a:cubicBezTo>
                      <a:pt x="566" y="0"/>
                      <a:pt x="566" y="0"/>
                      <a:pt x="566" y="0"/>
                    </a:cubicBezTo>
                    <a:cubicBezTo>
                      <a:pt x="564" y="0"/>
                      <a:pt x="564" y="0"/>
                      <a:pt x="564" y="0"/>
                    </a:cubicBezTo>
                    <a:cubicBezTo>
                      <a:pt x="564" y="28"/>
                      <a:pt x="564" y="28"/>
                      <a:pt x="564" y="28"/>
                    </a:cubicBezTo>
                    <a:cubicBezTo>
                      <a:pt x="545" y="0"/>
                      <a:pt x="545" y="0"/>
                      <a:pt x="545" y="0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33"/>
                      <a:pt x="543" y="33"/>
                      <a:pt x="543" y="33"/>
                    </a:cubicBezTo>
                    <a:cubicBezTo>
                      <a:pt x="545" y="33"/>
                      <a:pt x="545" y="33"/>
                      <a:pt x="545" y="33"/>
                    </a:cubicBezTo>
                    <a:cubicBezTo>
                      <a:pt x="545" y="5"/>
                      <a:pt x="545" y="5"/>
                      <a:pt x="545" y="5"/>
                    </a:cubicBezTo>
                    <a:cubicBezTo>
                      <a:pt x="564" y="33"/>
                      <a:pt x="564" y="33"/>
                      <a:pt x="564" y="33"/>
                    </a:cubicBezTo>
                    <a:lnTo>
                      <a:pt x="566" y="33"/>
                    </a:lnTo>
                    <a:close/>
                    <a:moveTo>
                      <a:pt x="532" y="16"/>
                    </a:moveTo>
                    <a:cubicBezTo>
                      <a:pt x="520" y="16"/>
                      <a:pt x="520" y="16"/>
                      <a:pt x="520" y="16"/>
                    </a:cubicBezTo>
                    <a:cubicBezTo>
                      <a:pt x="520" y="18"/>
                      <a:pt x="520" y="18"/>
                      <a:pt x="520" y="18"/>
                    </a:cubicBezTo>
                    <a:cubicBezTo>
                      <a:pt x="532" y="18"/>
                      <a:pt x="532" y="18"/>
                      <a:pt x="532" y="18"/>
                    </a:cubicBezTo>
                    <a:lnTo>
                      <a:pt x="532" y="16"/>
                    </a:lnTo>
                    <a:close/>
                    <a:moveTo>
                      <a:pt x="511" y="33"/>
                    </a:moveTo>
                    <a:cubicBezTo>
                      <a:pt x="511" y="0"/>
                      <a:pt x="511" y="0"/>
                      <a:pt x="511" y="0"/>
                    </a:cubicBezTo>
                    <a:cubicBezTo>
                      <a:pt x="509" y="0"/>
                      <a:pt x="509" y="0"/>
                      <a:pt x="509" y="0"/>
                    </a:cubicBezTo>
                    <a:cubicBezTo>
                      <a:pt x="498" y="25"/>
                      <a:pt x="498" y="25"/>
                      <a:pt x="498" y="25"/>
                    </a:cubicBezTo>
                    <a:cubicBezTo>
                      <a:pt x="486" y="0"/>
                      <a:pt x="486" y="0"/>
                      <a:pt x="486" y="0"/>
                    </a:cubicBezTo>
                    <a:cubicBezTo>
                      <a:pt x="484" y="0"/>
                      <a:pt x="484" y="0"/>
                      <a:pt x="484" y="0"/>
                    </a:cubicBezTo>
                    <a:cubicBezTo>
                      <a:pt x="484" y="33"/>
                      <a:pt x="484" y="33"/>
                      <a:pt x="484" y="33"/>
                    </a:cubicBezTo>
                    <a:cubicBezTo>
                      <a:pt x="486" y="33"/>
                      <a:pt x="486" y="33"/>
                      <a:pt x="486" y="33"/>
                    </a:cubicBezTo>
                    <a:cubicBezTo>
                      <a:pt x="486" y="6"/>
                      <a:pt x="486" y="6"/>
                      <a:pt x="486" y="6"/>
                    </a:cubicBezTo>
                    <a:cubicBezTo>
                      <a:pt x="496" y="28"/>
                      <a:pt x="496" y="28"/>
                      <a:pt x="496" y="28"/>
                    </a:cubicBezTo>
                    <a:cubicBezTo>
                      <a:pt x="499" y="28"/>
                      <a:pt x="499" y="28"/>
                      <a:pt x="499" y="28"/>
                    </a:cubicBezTo>
                    <a:cubicBezTo>
                      <a:pt x="509" y="6"/>
                      <a:pt x="509" y="6"/>
                      <a:pt x="509" y="6"/>
                    </a:cubicBezTo>
                    <a:cubicBezTo>
                      <a:pt x="509" y="33"/>
                      <a:pt x="509" y="33"/>
                      <a:pt x="509" y="33"/>
                    </a:cubicBezTo>
                    <a:lnTo>
                      <a:pt x="511" y="33"/>
                    </a:lnTo>
                    <a:close/>
                    <a:moveTo>
                      <a:pt x="469" y="12"/>
                    </a:moveTo>
                    <a:cubicBezTo>
                      <a:pt x="469" y="13"/>
                      <a:pt x="468" y="13"/>
                      <a:pt x="468" y="14"/>
                    </a:cubicBezTo>
                    <a:cubicBezTo>
                      <a:pt x="467" y="15"/>
                      <a:pt x="466" y="15"/>
                      <a:pt x="465" y="15"/>
                    </a:cubicBezTo>
                    <a:cubicBezTo>
                      <a:pt x="464" y="15"/>
                      <a:pt x="463" y="16"/>
                      <a:pt x="462" y="16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53" y="3"/>
                      <a:pt x="453" y="3"/>
                      <a:pt x="453" y="3"/>
                    </a:cubicBezTo>
                    <a:cubicBezTo>
                      <a:pt x="462" y="3"/>
                      <a:pt x="462" y="3"/>
                      <a:pt x="462" y="3"/>
                    </a:cubicBezTo>
                    <a:cubicBezTo>
                      <a:pt x="463" y="3"/>
                      <a:pt x="464" y="3"/>
                      <a:pt x="465" y="3"/>
                    </a:cubicBezTo>
                    <a:cubicBezTo>
                      <a:pt x="466" y="3"/>
                      <a:pt x="467" y="4"/>
                      <a:pt x="468" y="4"/>
                    </a:cubicBezTo>
                    <a:cubicBezTo>
                      <a:pt x="468" y="5"/>
                      <a:pt x="469" y="5"/>
                      <a:pt x="469" y="6"/>
                    </a:cubicBezTo>
                    <a:cubicBezTo>
                      <a:pt x="469" y="7"/>
                      <a:pt x="470" y="8"/>
                      <a:pt x="470" y="9"/>
                    </a:cubicBezTo>
                    <a:cubicBezTo>
                      <a:pt x="470" y="10"/>
                      <a:pt x="469" y="11"/>
                      <a:pt x="469" y="12"/>
                    </a:cubicBezTo>
                    <a:moveTo>
                      <a:pt x="472" y="33"/>
                    </a:moveTo>
                    <a:cubicBezTo>
                      <a:pt x="465" y="18"/>
                      <a:pt x="465" y="18"/>
                      <a:pt x="465" y="18"/>
                    </a:cubicBezTo>
                    <a:cubicBezTo>
                      <a:pt x="467" y="17"/>
                      <a:pt x="469" y="16"/>
                      <a:pt x="470" y="15"/>
                    </a:cubicBezTo>
                    <a:cubicBezTo>
                      <a:pt x="471" y="13"/>
                      <a:pt x="472" y="11"/>
                      <a:pt x="472" y="9"/>
                    </a:cubicBezTo>
                    <a:cubicBezTo>
                      <a:pt x="472" y="8"/>
                      <a:pt x="472" y="6"/>
                      <a:pt x="471" y="5"/>
                    </a:cubicBezTo>
                    <a:cubicBezTo>
                      <a:pt x="471" y="4"/>
                      <a:pt x="470" y="3"/>
                      <a:pt x="469" y="3"/>
                    </a:cubicBezTo>
                    <a:cubicBezTo>
                      <a:pt x="468" y="2"/>
                      <a:pt x="467" y="1"/>
                      <a:pt x="466" y="1"/>
                    </a:cubicBezTo>
                    <a:cubicBezTo>
                      <a:pt x="465" y="0"/>
                      <a:pt x="464" y="0"/>
                      <a:pt x="463" y="0"/>
                    </a:cubicBezTo>
                    <a:cubicBezTo>
                      <a:pt x="450" y="0"/>
                      <a:pt x="450" y="0"/>
                      <a:pt x="450" y="0"/>
                    </a:cubicBezTo>
                    <a:cubicBezTo>
                      <a:pt x="450" y="33"/>
                      <a:pt x="450" y="33"/>
                      <a:pt x="450" y="33"/>
                    </a:cubicBezTo>
                    <a:cubicBezTo>
                      <a:pt x="453" y="33"/>
                      <a:pt x="453" y="33"/>
                      <a:pt x="453" y="33"/>
                    </a:cubicBezTo>
                    <a:cubicBezTo>
                      <a:pt x="453" y="18"/>
                      <a:pt x="453" y="18"/>
                      <a:pt x="453" y="18"/>
                    </a:cubicBezTo>
                    <a:cubicBezTo>
                      <a:pt x="462" y="18"/>
                      <a:pt x="462" y="18"/>
                      <a:pt x="462" y="18"/>
                    </a:cubicBezTo>
                    <a:cubicBezTo>
                      <a:pt x="469" y="33"/>
                      <a:pt x="469" y="33"/>
                      <a:pt x="469" y="33"/>
                    </a:cubicBezTo>
                    <a:lnTo>
                      <a:pt x="472" y="33"/>
                    </a:lnTo>
                    <a:close/>
                    <a:moveTo>
                      <a:pt x="435" y="21"/>
                    </a:moveTo>
                    <a:cubicBezTo>
                      <a:pt x="435" y="22"/>
                      <a:pt x="435" y="23"/>
                      <a:pt x="435" y="24"/>
                    </a:cubicBezTo>
                    <a:cubicBezTo>
                      <a:pt x="435" y="25"/>
                      <a:pt x="435" y="26"/>
                      <a:pt x="434" y="27"/>
                    </a:cubicBezTo>
                    <a:cubicBezTo>
                      <a:pt x="434" y="27"/>
                      <a:pt x="433" y="28"/>
                      <a:pt x="433" y="28"/>
                    </a:cubicBezTo>
                    <a:cubicBezTo>
                      <a:pt x="432" y="29"/>
                      <a:pt x="431" y="30"/>
                      <a:pt x="430" y="30"/>
                    </a:cubicBezTo>
                    <a:cubicBezTo>
                      <a:pt x="429" y="31"/>
                      <a:pt x="428" y="31"/>
                      <a:pt x="427" y="31"/>
                    </a:cubicBezTo>
                    <a:cubicBezTo>
                      <a:pt x="426" y="31"/>
                      <a:pt x="424" y="31"/>
                      <a:pt x="423" y="30"/>
                    </a:cubicBezTo>
                    <a:cubicBezTo>
                      <a:pt x="422" y="30"/>
                      <a:pt x="421" y="29"/>
                      <a:pt x="421" y="28"/>
                    </a:cubicBezTo>
                    <a:cubicBezTo>
                      <a:pt x="420" y="28"/>
                      <a:pt x="419" y="27"/>
                      <a:pt x="419" y="27"/>
                    </a:cubicBezTo>
                    <a:cubicBezTo>
                      <a:pt x="419" y="26"/>
                      <a:pt x="419" y="25"/>
                      <a:pt x="418" y="24"/>
                    </a:cubicBezTo>
                    <a:cubicBezTo>
                      <a:pt x="418" y="23"/>
                      <a:pt x="418" y="22"/>
                      <a:pt x="418" y="21"/>
                    </a:cubicBezTo>
                    <a:cubicBezTo>
                      <a:pt x="418" y="20"/>
                      <a:pt x="418" y="18"/>
                      <a:pt x="418" y="17"/>
                    </a:cubicBezTo>
                    <a:cubicBezTo>
                      <a:pt x="418" y="15"/>
                      <a:pt x="418" y="13"/>
                      <a:pt x="418" y="12"/>
                    </a:cubicBezTo>
                    <a:cubicBezTo>
                      <a:pt x="418" y="11"/>
                      <a:pt x="418" y="10"/>
                      <a:pt x="418" y="9"/>
                    </a:cubicBezTo>
                    <a:cubicBezTo>
                      <a:pt x="419" y="8"/>
                      <a:pt x="419" y="7"/>
                      <a:pt x="419" y="7"/>
                    </a:cubicBezTo>
                    <a:cubicBezTo>
                      <a:pt x="419" y="6"/>
                      <a:pt x="420" y="5"/>
                      <a:pt x="421" y="5"/>
                    </a:cubicBezTo>
                    <a:cubicBezTo>
                      <a:pt x="421" y="4"/>
                      <a:pt x="422" y="3"/>
                      <a:pt x="423" y="3"/>
                    </a:cubicBezTo>
                    <a:cubicBezTo>
                      <a:pt x="424" y="2"/>
                      <a:pt x="426" y="2"/>
                      <a:pt x="427" y="2"/>
                    </a:cubicBezTo>
                    <a:cubicBezTo>
                      <a:pt x="428" y="2"/>
                      <a:pt x="429" y="2"/>
                      <a:pt x="430" y="3"/>
                    </a:cubicBezTo>
                    <a:cubicBezTo>
                      <a:pt x="431" y="3"/>
                      <a:pt x="432" y="4"/>
                      <a:pt x="433" y="5"/>
                    </a:cubicBezTo>
                    <a:cubicBezTo>
                      <a:pt x="433" y="5"/>
                      <a:pt x="434" y="6"/>
                      <a:pt x="434" y="7"/>
                    </a:cubicBezTo>
                    <a:cubicBezTo>
                      <a:pt x="435" y="7"/>
                      <a:pt x="435" y="8"/>
                      <a:pt x="435" y="9"/>
                    </a:cubicBezTo>
                    <a:cubicBezTo>
                      <a:pt x="435" y="10"/>
                      <a:pt x="435" y="11"/>
                      <a:pt x="435" y="12"/>
                    </a:cubicBezTo>
                    <a:cubicBezTo>
                      <a:pt x="435" y="13"/>
                      <a:pt x="435" y="15"/>
                      <a:pt x="435" y="17"/>
                    </a:cubicBezTo>
                    <a:cubicBezTo>
                      <a:pt x="435" y="18"/>
                      <a:pt x="435" y="20"/>
                      <a:pt x="435" y="21"/>
                    </a:cubicBezTo>
                    <a:moveTo>
                      <a:pt x="438" y="12"/>
                    </a:moveTo>
                    <a:cubicBezTo>
                      <a:pt x="438" y="11"/>
                      <a:pt x="438" y="9"/>
                      <a:pt x="437" y="8"/>
                    </a:cubicBezTo>
                    <a:cubicBezTo>
                      <a:pt x="437" y="7"/>
                      <a:pt x="437" y="6"/>
                      <a:pt x="437" y="6"/>
                    </a:cubicBezTo>
                    <a:cubicBezTo>
                      <a:pt x="436" y="5"/>
                      <a:pt x="436" y="4"/>
                      <a:pt x="435" y="3"/>
                    </a:cubicBezTo>
                    <a:cubicBezTo>
                      <a:pt x="434" y="2"/>
                      <a:pt x="433" y="1"/>
                      <a:pt x="431" y="1"/>
                    </a:cubicBezTo>
                    <a:cubicBezTo>
                      <a:pt x="430" y="0"/>
                      <a:pt x="428" y="0"/>
                      <a:pt x="427" y="0"/>
                    </a:cubicBezTo>
                    <a:cubicBezTo>
                      <a:pt x="425" y="0"/>
                      <a:pt x="424" y="0"/>
                      <a:pt x="422" y="1"/>
                    </a:cubicBezTo>
                    <a:cubicBezTo>
                      <a:pt x="421" y="1"/>
                      <a:pt x="420" y="2"/>
                      <a:pt x="419" y="3"/>
                    </a:cubicBezTo>
                    <a:cubicBezTo>
                      <a:pt x="418" y="4"/>
                      <a:pt x="417" y="5"/>
                      <a:pt x="417" y="6"/>
                    </a:cubicBezTo>
                    <a:cubicBezTo>
                      <a:pt x="416" y="6"/>
                      <a:pt x="416" y="7"/>
                      <a:pt x="416" y="8"/>
                    </a:cubicBezTo>
                    <a:cubicBezTo>
                      <a:pt x="416" y="9"/>
                      <a:pt x="416" y="11"/>
                      <a:pt x="416" y="12"/>
                    </a:cubicBezTo>
                    <a:cubicBezTo>
                      <a:pt x="416" y="13"/>
                      <a:pt x="416" y="15"/>
                      <a:pt x="416" y="17"/>
                    </a:cubicBezTo>
                    <a:cubicBezTo>
                      <a:pt x="416" y="18"/>
                      <a:pt x="416" y="20"/>
                      <a:pt x="416" y="21"/>
                    </a:cubicBezTo>
                    <a:cubicBezTo>
                      <a:pt x="416" y="23"/>
                      <a:pt x="416" y="24"/>
                      <a:pt x="416" y="25"/>
                    </a:cubicBezTo>
                    <a:cubicBezTo>
                      <a:pt x="416" y="26"/>
                      <a:pt x="416" y="27"/>
                      <a:pt x="417" y="27"/>
                    </a:cubicBezTo>
                    <a:cubicBezTo>
                      <a:pt x="417" y="28"/>
                      <a:pt x="418" y="29"/>
                      <a:pt x="419" y="30"/>
                    </a:cubicBezTo>
                    <a:cubicBezTo>
                      <a:pt x="420" y="31"/>
                      <a:pt x="421" y="32"/>
                      <a:pt x="422" y="32"/>
                    </a:cubicBezTo>
                    <a:cubicBezTo>
                      <a:pt x="424" y="33"/>
                      <a:pt x="425" y="33"/>
                      <a:pt x="427" y="33"/>
                    </a:cubicBezTo>
                    <a:cubicBezTo>
                      <a:pt x="428" y="33"/>
                      <a:pt x="430" y="33"/>
                      <a:pt x="431" y="32"/>
                    </a:cubicBezTo>
                    <a:cubicBezTo>
                      <a:pt x="433" y="32"/>
                      <a:pt x="434" y="31"/>
                      <a:pt x="435" y="30"/>
                    </a:cubicBezTo>
                    <a:cubicBezTo>
                      <a:pt x="436" y="29"/>
                      <a:pt x="436" y="28"/>
                      <a:pt x="437" y="27"/>
                    </a:cubicBezTo>
                    <a:cubicBezTo>
                      <a:pt x="437" y="27"/>
                      <a:pt x="437" y="26"/>
                      <a:pt x="437" y="25"/>
                    </a:cubicBezTo>
                    <a:cubicBezTo>
                      <a:pt x="438" y="24"/>
                      <a:pt x="438" y="23"/>
                      <a:pt x="438" y="21"/>
                    </a:cubicBezTo>
                    <a:cubicBezTo>
                      <a:pt x="438" y="20"/>
                      <a:pt x="438" y="18"/>
                      <a:pt x="438" y="17"/>
                    </a:cubicBezTo>
                    <a:cubicBezTo>
                      <a:pt x="438" y="15"/>
                      <a:pt x="438" y="13"/>
                      <a:pt x="438" y="12"/>
                    </a:cubicBezTo>
                    <a:moveTo>
                      <a:pt x="407" y="3"/>
                    </a:moveTo>
                    <a:cubicBezTo>
                      <a:pt x="407" y="0"/>
                      <a:pt x="407" y="0"/>
                      <a:pt x="407" y="0"/>
                    </a:cubicBezTo>
                    <a:cubicBezTo>
                      <a:pt x="388" y="0"/>
                      <a:pt x="388" y="0"/>
                      <a:pt x="388" y="0"/>
                    </a:cubicBezTo>
                    <a:cubicBezTo>
                      <a:pt x="388" y="33"/>
                      <a:pt x="388" y="33"/>
                      <a:pt x="388" y="33"/>
                    </a:cubicBezTo>
                    <a:cubicBezTo>
                      <a:pt x="390" y="33"/>
                      <a:pt x="390" y="33"/>
                      <a:pt x="390" y="33"/>
                    </a:cubicBezTo>
                    <a:cubicBezTo>
                      <a:pt x="390" y="18"/>
                      <a:pt x="390" y="18"/>
                      <a:pt x="390" y="18"/>
                    </a:cubicBezTo>
                    <a:cubicBezTo>
                      <a:pt x="405" y="18"/>
                      <a:pt x="405" y="18"/>
                      <a:pt x="405" y="18"/>
                    </a:cubicBezTo>
                    <a:cubicBezTo>
                      <a:pt x="405" y="16"/>
                      <a:pt x="405" y="16"/>
                      <a:pt x="405" y="16"/>
                    </a:cubicBezTo>
                    <a:cubicBezTo>
                      <a:pt x="390" y="16"/>
                      <a:pt x="390" y="16"/>
                      <a:pt x="390" y="16"/>
                    </a:cubicBezTo>
                    <a:cubicBezTo>
                      <a:pt x="390" y="3"/>
                      <a:pt x="390" y="3"/>
                      <a:pt x="390" y="3"/>
                    </a:cubicBezTo>
                    <a:lnTo>
                      <a:pt x="407" y="3"/>
                    </a:lnTo>
                    <a:close/>
                    <a:moveTo>
                      <a:pt x="376" y="21"/>
                    </a:moveTo>
                    <a:cubicBezTo>
                      <a:pt x="375" y="19"/>
                      <a:pt x="374" y="19"/>
                      <a:pt x="374" y="18"/>
                    </a:cubicBezTo>
                    <a:cubicBezTo>
                      <a:pt x="373" y="18"/>
                      <a:pt x="373" y="17"/>
                      <a:pt x="373" y="17"/>
                    </a:cubicBezTo>
                    <a:cubicBezTo>
                      <a:pt x="372" y="17"/>
                      <a:pt x="372" y="17"/>
                      <a:pt x="371" y="16"/>
                    </a:cubicBezTo>
                    <a:cubicBezTo>
                      <a:pt x="371" y="16"/>
                      <a:pt x="370" y="16"/>
                      <a:pt x="370" y="16"/>
                    </a:cubicBezTo>
                    <a:cubicBezTo>
                      <a:pt x="369" y="16"/>
                      <a:pt x="369" y="16"/>
                      <a:pt x="368" y="16"/>
                    </a:cubicBezTo>
                    <a:cubicBezTo>
                      <a:pt x="364" y="15"/>
                      <a:pt x="364" y="15"/>
                      <a:pt x="364" y="15"/>
                    </a:cubicBezTo>
                    <a:cubicBezTo>
                      <a:pt x="363" y="15"/>
                      <a:pt x="362" y="15"/>
                      <a:pt x="362" y="14"/>
                    </a:cubicBezTo>
                    <a:cubicBezTo>
                      <a:pt x="361" y="14"/>
                      <a:pt x="360" y="14"/>
                      <a:pt x="359" y="13"/>
                    </a:cubicBezTo>
                    <a:cubicBezTo>
                      <a:pt x="358" y="12"/>
                      <a:pt x="358" y="11"/>
                      <a:pt x="358" y="9"/>
                    </a:cubicBezTo>
                    <a:cubicBezTo>
                      <a:pt x="358" y="7"/>
                      <a:pt x="358" y="5"/>
                      <a:pt x="360" y="4"/>
                    </a:cubicBezTo>
                    <a:cubicBezTo>
                      <a:pt x="361" y="3"/>
                      <a:pt x="363" y="2"/>
                      <a:pt x="365" y="2"/>
                    </a:cubicBezTo>
                    <a:cubicBezTo>
                      <a:pt x="366" y="2"/>
                      <a:pt x="367" y="2"/>
                      <a:pt x="368" y="2"/>
                    </a:cubicBezTo>
                    <a:cubicBezTo>
                      <a:pt x="369" y="3"/>
                      <a:pt x="369" y="3"/>
                      <a:pt x="370" y="3"/>
                    </a:cubicBezTo>
                    <a:cubicBezTo>
                      <a:pt x="371" y="3"/>
                      <a:pt x="371" y="4"/>
                      <a:pt x="372" y="4"/>
                    </a:cubicBezTo>
                    <a:cubicBezTo>
                      <a:pt x="372" y="4"/>
                      <a:pt x="373" y="5"/>
                      <a:pt x="373" y="5"/>
                    </a:cubicBezTo>
                    <a:cubicBezTo>
                      <a:pt x="375" y="4"/>
                      <a:pt x="375" y="4"/>
                      <a:pt x="375" y="4"/>
                    </a:cubicBezTo>
                    <a:cubicBezTo>
                      <a:pt x="373" y="2"/>
                      <a:pt x="372" y="1"/>
                      <a:pt x="371" y="1"/>
                    </a:cubicBezTo>
                    <a:cubicBezTo>
                      <a:pt x="369" y="0"/>
                      <a:pt x="367" y="0"/>
                      <a:pt x="365" y="0"/>
                    </a:cubicBezTo>
                    <a:cubicBezTo>
                      <a:pt x="362" y="0"/>
                      <a:pt x="360" y="1"/>
                      <a:pt x="358" y="2"/>
                    </a:cubicBezTo>
                    <a:cubicBezTo>
                      <a:pt x="356" y="4"/>
                      <a:pt x="355" y="6"/>
                      <a:pt x="355" y="9"/>
                    </a:cubicBezTo>
                    <a:cubicBezTo>
                      <a:pt x="355" y="11"/>
                      <a:pt x="356" y="13"/>
                      <a:pt x="358" y="15"/>
                    </a:cubicBezTo>
                    <a:cubicBezTo>
                      <a:pt x="359" y="16"/>
                      <a:pt x="361" y="17"/>
                      <a:pt x="364" y="17"/>
                    </a:cubicBezTo>
                    <a:cubicBezTo>
                      <a:pt x="368" y="18"/>
                      <a:pt x="368" y="18"/>
                      <a:pt x="368" y="18"/>
                    </a:cubicBezTo>
                    <a:cubicBezTo>
                      <a:pt x="368" y="18"/>
                      <a:pt x="369" y="18"/>
                      <a:pt x="369" y="18"/>
                    </a:cubicBezTo>
                    <a:cubicBezTo>
                      <a:pt x="370" y="18"/>
                      <a:pt x="370" y="18"/>
                      <a:pt x="370" y="19"/>
                    </a:cubicBezTo>
                    <a:cubicBezTo>
                      <a:pt x="371" y="19"/>
                      <a:pt x="371" y="19"/>
                      <a:pt x="371" y="19"/>
                    </a:cubicBezTo>
                    <a:cubicBezTo>
                      <a:pt x="372" y="19"/>
                      <a:pt x="372" y="19"/>
                      <a:pt x="372" y="20"/>
                    </a:cubicBezTo>
                    <a:cubicBezTo>
                      <a:pt x="373" y="21"/>
                      <a:pt x="374" y="22"/>
                      <a:pt x="374" y="24"/>
                    </a:cubicBezTo>
                    <a:cubicBezTo>
                      <a:pt x="374" y="26"/>
                      <a:pt x="373" y="28"/>
                      <a:pt x="372" y="29"/>
                    </a:cubicBezTo>
                    <a:cubicBezTo>
                      <a:pt x="370" y="30"/>
                      <a:pt x="368" y="31"/>
                      <a:pt x="366" y="31"/>
                    </a:cubicBezTo>
                    <a:cubicBezTo>
                      <a:pt x="365" y="31"/>
                      <a:pt x="364" y="31"/>
                      <a:pt x="363" y="31"/>
                    </a:cubicBezTo>
                    <a:cubicBezTo>
                      <a:pt x="362" y="31"/>
                      <a:pt x="361" y="30"/>
                      <a:pt x="361" y="30"/>
                    </a:cubicBezTo>
                    <a:cubicBezTo>
                      <a:pt x="360" y="30"/>
                      <a:pt x="359" y="29"/>
                      <a:pt x="359" y="29"/>
                    </a:cubicBezTo>
                    <a:cubicBezTo>
                      <a:pt x="358" y="28"/>
                      <a:pt x="357" y="28"/>
                      <a:pt x="356" y="27"/>
                    </a:cubicBezTo>
                    <a:cubicBezTo>
                      <a:pt x="355" y="29"/>
                      <a:pt x="355" y="29"/>
                      <a:pt x="355" y="29"/>
                    </a:cubicBezTo>
                    <a:cubicBezTo>
                      <a:pt x="355" y="30"/>
                      <a:pt x="356" y="30"/>
                      <a:pt x="357" y="31"/>
                    </a:cubicBezTo>
                    <a:cubicBezTo>
                      <a:pt x="358" y="31"/>
                      <a:pt x="359" y="32"/>
                      <a:pt x="359" y="32"/>
                    </a:cubicBezTo>
                    <a:cubicBezTo>
                      <a:pt x="360" y="32"/>
                      <a:pt x="361" y="33"/>
                      <a:pt x="362" y="33"/>
                    </a:cubicBezTo>
                    <a:cubicBezTo>
                      <a:pt x="363" y="33"/>
                      <a:pt x="364" y="33"/>
                      <a:pt x="365" y="33"/>
                    </a:cubicBezTo>
                    <a:cubicBezTo>
                      <a:pt x="369" y="33"/>
                      <a:pt x="372" y="32"/>
                      <a:pt x="374" y="31"/>
                    </a:cubicBezTo>
                    <a:cubicBezTo>
                      <a:pt x="375" y="29"/>
                      <a:pt x="376" y="27"/>
                      <a:pt x="376" y="24"/>
                    </a:cubicBezTo>
                    <a:cubicBezTo>
                      <a:pt x="376" y="23"/>
                      <a:pt x="376" y="22"/>
                      <a:pt x="376" y="21"/>
                    </a:cubicBezTo>
                    <a:moveTo>
                      <a:pt x="344" y="33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341" y="0"/>
                      <a:pt x="341" y="0"/>
                      <a:pt x="341" y="0"/>
                    </a:cubicBezTo>
                    <a:cubicBezTo>
                      <a:pt x="341" y="28"/>
                      <a:pt x="341" y="28"/>
                      <a:pt x="341" y="28"/>
                    </a:cubicBezTo>
                    <a:cubicBezTo>
                      <a:pt x="322" y="0"/>
                      <a:pt x="322" y="0"/>
                      <a:pt x="322" y="0"/>
                    </a:cubicBezTo>
                    <a:cubicBezTo>
                      <a:pt x="320" y="0"/>
                      <a:pt x="320" y="0"/>
                      <a:pt x="320" y="0"/>
                    </a:cubicBezTo>
                    <a:cubicBezTo>
                      <a:pt x="320" y="33"/>
                      <a:pt x="320" y="33"/>
                      <a:pt x="320" y="33"/>
                    </a:cubicBezTo>
                    <a:cubicBezTo>
                      <a:pt x="322" y="33"/>
                      <a:pt x="322" y="33"/>
                      <a:pt x="322" y="33"/>
                    </a:cubicBezTo>
                    <a:cubicBezTo>
                      <a:pt x="322" y="5"/>
                      <a:pt x="322" y="5"/>
                      <a:pt x="322" y="5"/>
                    </a:cubicBezTo>
                    <a:cubicBezTo>
                      <a:pt x="341" y="33"/>
                      <a:pt x="341" y="33"/>
                      <a:pt x="341" y="33"/>
                    </a:cubicBezTo>
                    <a:lnTo>
                      <a:pt x="344" y="33"/>
                    </a:lnTo>
                    <a:close/>
                    <a:moveTo>
                      <a:pt x="304" y="23"/>
                    </a:moveTo>
                    <a:cubicBezTo>
                      <a:pt x="291" y="23"/>
                      <a:pt x="291" y="23"/>
                      <a:pt x="291" y="23"/>
                    </a:cubicBezTo>
                    <a:cubicBezTo>
                      <a:pt x="298" y="4"/>
                      <a:pt x="298" y="4"/>
                      <a:pt x="298" y="4"/>
                    </a:cubicBezTo>
                    <a:lnTo>
                      <a:pt x="304" y="23"/>
                    </a:lnTo>
                    <a:close/>
                    <a:moveTo>
                      <a:pt x="311" y="33"/>
                    </a:moveTo>
                    <a:cubicBezTo>
                      <a:pt x="299" y="0"/>
                      <a:pt x="299" y="0"/>
                      <a:pt x="299" y="0"/>
                    </a:cubicBezTo>
                    <a:cubicBezTo>
                      <a:pt x="296" y="0"/>
                      <a:pt x="296" y="0"/>
                      <a:pt x="296" y="0"/>
                    </a:cubicBezTo>
                    <a:cubicBezTo>
                      <a:pt x="284" y="33"/>
                      <a:pt x="284" y="33"/>
                      <a:pt x="284" y="33"/>
                    </a:cubicBezTo>
                    <a:cubicBezTo>
                      <a:pt x="287" y="33"/>
                      <a:pt x="287" y="33"/>
                      <a:pt x="287" y="33"/>
                    </a:cubicBezTo>
                    <a:cubicBezTo>
                      <a:pt x="290" y="25"/>
                      <a:pt x="290" y="25"/>
                      <a:pt x="290" y="25"/>
                    </a:cubicBezTo>
                    <a:cubicBezTo>
                      <a:pt x="305" y="25"/>
                      <a:pt x="305" y="25"/>
                      <a:pt x="305" y="25"/>
                    </a:cubicBezTo>
                    <a:cubicBezTo>
                      <a:pt x="308" y="33"/>
                      <a:pt x="308" y="33"/>
                      <a:pt x="308" y="33"/>
                    </a:cubicBezTo>
                    <a:lnTo>
                      <a:pt x="311" y="33"/>
                    </a:lnTo>
                    <a:close/>
                    <a:moveTo>
                      <a:pt x="274" y="12"/>
                    </a:moveTo>
                    <a:cubicBezTo>
                      <a:pt x="274" y="13"/>
                      <a:pt x="273" y="13"/>
                      <a:pt x="272" y="14"/>
                    </a:cubicBezTo>
                    <a:cubicBezTo>
                      <a:pt x="272" y="15"/>
                      <a:pt x="271" y="15"/>
                      <a:pt x="270" y="15"/>
                    </a:cubicBezTo>
                    <a:cubicBezTo>
                      <a:pt x="269" y="15"/>
                      <a:pt x="268" y="16"/>
                      <a:pt x="267" y="16"/>
                    </a:cubicBezTo>
                    <a:cubicBezTo>
                      <a:pt x="258" y="16"/>
                      <a:pt x="258" y="16"/>
                      <a:pt x="258" y="16"/>
                    </a:cubicBezTo>
                    <a:cubicBezTo>
                      <a:pt x="258" y="3"/>
                      <a:pt x="258" y="3"/>
                      <a:pt x="258" y="3"/>
                    </a:cubicBezTo>
                    <a:cubicBezTo>
                      <a:pt x="267" y="3"/>
                      <a:pt x="267" y="3"/>
                      <a:pt x="267" y="3"/>
                    </a:cubicBezTo>
                    <a:cubicBezTo>
                      <a:pt x="268" y="3"/>
                      <a:pt x="269" y="3"/>
                      <a:pt x="270" y="3"/>
                    </a:cubicBezTo>
                    <a:cubicBezTo>
                      <a:pt x="271" y="3"/>
                      <a:pt x="272" y="4"/>
                      <a:pt x="272" y="4"/>
                    </a:cubicBezTo>
                    <a:cubicBezTo>
                      <a:pt x="273" y="5"/>
                      <a:pt x="274" y="5"/>
                      <a:pt x="274" y="6"/>
                    </a:cubicBezTo>
                    <a:cubicBezTo>
                      <a:pt x="274" y="7"/>
                      <a:pt x="274" y="8"/>
                      <a:pt x="274" y="9"/>
                    </a:cubicBezTo>
                    <a:cubicBezTo>
                      <a:pt x="274" y="10"/>
                      <a:pt x="274" y="11"/>
                      <a:pt x="274" y="12"/>
                    </a:cubicBezTo>
                    <a:moveTo>
                      <a:pt x="277" y="33"/>
                    </a:moveTo>
                    <a:cubicBezTo>
                      <a:pt x="269" y="18"/>
                      <a:pt x="269" y="18"/>
                      <a:pt x="269" y="18"/>
                    </a:cubicBezTo>
                    <a:cubicBezTo>
                      <a:pt x="272" y="17"/>
                      <a:pt x="273" y="16"/>
                      <a:pt x="275" y="15"/>
                    </a:cubicBezTo>
                    <a:cubicBezTo>
                      <a:pt x="276" y="13"/>
                      <a:pt x="277" y="11"/>
                      <a:pt x="277" y="9"/>
                    </a:cubicBezTo>
                    <a:cubicBezTo>
                      <a:pt x="277" y="8"/>
                      <a:pt x="277" y="6"/>
                      <a:pt x="276" y="5"/>
                    </a:cubicBezTo>
                    <a:cubicBezTo>
                      <a:pt x="276" y="4"/>
                      <a:pt x="275" y="3"/>
                      <a:pt x="274" y="3"/>
                    </a:cubicBezTo>
                    <a:cubicBezTo>
                      <a:pt x="273" y="2"/>
                      <a:pt x="272" y="1"/>
                      <a:pt x="271" y="1"/>
                    </a:cubicBezTo>
                    <a:cubicBezTo>
                      <a:pt x="270" y="0"/>
                      <a:pt x="269" y="0"/>
                      <a:pt x="268" y="0"/>
                    </a:cubicBezTo>
                    <a:cubicBezTo>
                      <a:pt x="255" y="0"/>
                      <a:pt x="255" y="0"/>
                      <a:pt x="255" y="0"/>
                    </a:cubicBezTo>
                    <a:cubicBezTo>
                      <a:pt x="255" y="33"/>
                      <a:pt x="255" y="33"/>
                      <a:pt x="255" y="33"/>
                    </a:cubicBezTo>
                    <a:cubicBezTo>
                      <a:pt x="258" y="33"/>
                      <a:pt x="258" y="33"/>
                      <a:pt x="258" y="33"/>
                    </a:cubicBezTo>
                    <a:cubicBezTo>
                      <a:pt x="258" y="18"/>
                      <a:pt x="258" y="18"/>
                      <a:pt x="258" y="18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4" y="33"/>
                      <a:pt x="274" y="33"/>
                      <a:pt x="274" y="33"/>
                    </a:cubicBezTo>
                    <a:lnTo>
                      <a:pt x="277" y="33"/>
                    </a:lnTo>
                    <a:close/>
                    <a:moveTo>
                      <a:pt x="245" y="3"/>
                    </a:moveTo>
                    <a:cubicBezTo>
                      <a:pt x="245" y="0"/>
                      <a:pt x="245" y="0"/>
                      <a:pt x="245" y="0"/>
                    </a:cubicBezTo>
                    <a:cubicBezTo>
                      <a:pt x="223" y="0"/>
                      <a:pt x="223" y="0"/>
                      <a:pt x="223" y="0"/>
                    </a:cubicBezTo>
                    <a:cubicBezTo>
                      <a:pt x="223" y="3"/>
                      <a:pt x="223" y="3"/>
                      <a:pt x="223" y="3"/>
                    </a:cubicBezTo>
                    <a:cubicBezTo>
                      <a:pt x="233" y="3"/>
                      <a:pt x="233" y="3"/>
                      <a:pt x="233" y="3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5" y="3"/>
                      <a:pt x="235" y="3"/>
                      <a:pt x="235" y="3"/>
                    </a:cubicBezTo>
                    <a:lnTo>
                      <a:pt x="245" y="3"/>
                    </a:lnTo>
                    <a:close/>
                    <a:moveTo>
                      <a:pt x="197" y="33"/>
                    </a:moveTo>
                    <a:cubicBezTo>
                      <a:pt x="197" y="0"/>
                      <a:pt x="197" y="0"/>
                      <a:pt x="197" y="0"/>
                    </a:cubicBezTo>
                    <a:cubicBezTo>
                      <a:pt x="195" y="0"/>
                      <a:pt x="195" y="0"/>
                      <a:pt x="195" y="0"/>
                    </a:cubicBezTo>
                    <a:cubicBezTo>
                      <a:pt x="195" y="28"/>
                      <a:pt x="195" y="28"/>
                      <a:pt x="195" y="28"/>
                    </a:cubicBezTo>
                    <a:cubicBezTo>
                      <a:pt x="176" y="0"/>
                      <a:pt x="176" y="0"/>
                      <a:pt x="176" y="0"/>
                    </a:cubicBezTo>
                    <a:cubicBezTo>
                      <a:pt x="173" y="0"/>
                      <a:pt x="173" y="0"/>
                      <a:pt x="173" y="0"/>
                    </a:cubicBezTo>
                    <a:cubicBezTo>
                      <a:pt x="173" y="33"/>
                      <a:pt x="173" y="33"/>
                      <a:pt x="173" y="33"/>
                    </a:cubicBezTo>
                    <a:cubicBezTo>
                      <a:pt x="176" y="33"/>
                      <a:pt x="176" y="33"/>
                      <a:pt x="176" y="33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95" y="33"/>
                      <a:pt x="195" y="33"/>
                      <a:pt x="195" y="33"/>
                    </a:cubicBezTo>
                    <a:lnTo>
                      <a:pt x="197" y="33"/>
                    </a:lnTo>
                    <a:close/>
                    <a:moveTo>
                      <a:pt x="157" y="21"/>
                    </a:moveTo>
                    <a:cubicBezTo>
                      <a:pt x="157" y="22"/>
                      <a:pt x="157" y="23"/>
                      <a:pt x="157" y="24"/>
                    </a:cubicBezTo>
                    <a:cubicBezTo>
                      <a:pt x="157" y="25"/>
                      <a:pt x="157" y="26"/>
                      <a:pt x="156" y="27"/>
                    </a:cubicBezTo>
                    <a:cubicBezTo>
                      <a:pt x="156" y="27"/>
                      <a:pt x="156" y="28"/>
                      <a:pt x="155" y="28"/>
                    </a:cubicBezTo>
                    <a:cubicBezTo>
                      <a:pt x="154" y="29"/>
                      <a:pt x="153" y="30"/>
                      <a:pt x="152" y="30"/>
                    </a:cubicBezTo>
                    <a:cubicBezTo>
                      <a:pt x="151" y="31"/>
                      <a:pt x="150" y="31"/>
                      <a:pt x="149" y="31"/>
                    </a:cubicBezTo>
                    <a:cubicBezTo>
                      <a:pt x="148" y="31"/>
                      <a:pt x="147" y="31"/>
                      <a:pt x="145" y="30"/>
                    </a:cubicBezTo>
                    <a:cubicBezTo>
                      <a:pt x="144" y="30"/>
                      <a:pt x="143" y="29"/>
                      <a:pt x="143" y="28"/>
                    </a:cubicBezTo>
                    <a:cubicBezTo>
                      <a:pt x="142" y="28"/>
                      <a:pt x="142" y="27"/>
                      <a:pt x="141" y="27"/>
                    </a:cubicBezTo>
                    <a:cubicBezTo>
                      <a:pt x="141" y="26"/>
                      <a:pt x="141" y="25"/>
                      <a:pt x="141" y="24"/>
                    </a:cubicBezTo>
                    <a:cubicBezTo>
                      <a:pt x="140" y="23"/>
                      <a:pt x="140" y="22"/>
                      <a:pt x="140" y="21"/>
                    </a:cubicBezTo>
                    <a:cubicBezTo>
                      <a:pt x="140" y="20"/>
                      <a:pt x="140" y="18"/>
                      <a:pt x="140" y="17"/>
                    </a:cubicBezTo>
                    <a:cubicBezTo>
                      <a:pt x="140" y="15"/>
                      <a:pt x="140" y="13"/>
                      <a:pt x="140" y="12"/>
                    </a:cubicBezTo>
                    <a:cubicBezTo>
                      <a:pt x="140" y="11"/>
                      <a:pt x="140" y="10"/>
                      <a:pt x="141" y="9"/>
                    </a:cubicBezTo>
                    <a:cubicBezTo>
                      <a:pt x="141" y="8"/>
                      <a:pt x="141" y="7"/>
                      <a:pt x="141" y="7"/>
                    </a:cubicBezTo>
                    <a:cubicBezTo>
                      <a:pt x="142" y="6"/>
                      <a:pt x="142" y="5"/>
                      <a:pt x="143" y="5"/>
                    </a:cubicBezTo>
                    <a:cubicBezTo>
                      <a:pt x="143" y="4"/>
                      <a:pt x="144" y="3"/>
                      <a:pt x="145" y="3"/>
                    </a:cubicBezTo>
                    <a:cubicBezTo>
                      <a:pt x="147" y="2"/>
                      <a:pt x="148" y="2"/>
                      <a:pt x="149" y="2"/>
                    </a:cubicBezTo>
                    <a:cubicBezTo>
                      <a:pt x="150" y="2"/>
                      <a:pt x="151" y="2"/>
                      <a:pt x="152" y="3"/>
                    </a:cubicBezTo>
                    <a:cubicBezTo>
                      <a:pt x="153" y="3"/>
                      <a:pt x="154" y="4"/>
                      <a:pt x="155" y="5"/>
                    </a:cubicBezTo>
                    <a:cubicBezTo>
                      <a:pt x="156" y="5"/>
                      <a:pt x="156" y="6"/>
                      <a:pt x="156" y="7"/>
                    </a:cubicBezTo>
                    <a:cubicBezTo>
                      <a:pt x="157" y="7"/>
                      <a:pt x="157" y="8"/>
                      <a:pt x="157" y="9"/>
                    </a:cubicBezTo>
                    <a:cubicBezTo>
                      <a:pt x="157" y="10"/>
                      <a:pt x="157" y="11"/>
                      <a:pt x="157" y="12"/>
                    </a:cubicBezTo>
                    <a:cubicBezTo>
                      <a:pt x="158" y="13"/>
                      <a:pt x="158" y="15"/>
                      <a:pt x="158" y="17"/>
                    </a:cubicBezTo>
                    <a:cubicBezTo>
                      <a:pt x="158" y="18"/>
                      <a:pt x="158" y="20"/>
                      <a:pt x="157" y="21"/>
                    </a:cubicBezTo>
                    <a:moveTo>
                      <a:pt x="160" y="12"/>
                    </a:moveTo>
                    <a:cubicBezTo>
                      <a:pt x="160" y="11"/>
                      <a:pt x="160" y="9"/>
                      <a:pt x="160" y="8"/>
                    </a:cubicBezTo>
                    <a:cubicBezTo>
                      <a:pt x="159" y="7"/>
                      <a:pt x="159" y="6"/>
                      <a:pt x="159" y="6"/>
                    </a:cubicBezTo>
                    <a:cubicBezTo>
                      <a:pt x="158" y="5"/>
                      <a:pt x="158" y="4"/>
                      <a:pt x="157" y="3"/>
                    </a:cubicBezTo>
                    <a:cubicBezTo>
                      <a:pt x="156" y="2"/>
                      <a:pt x="155" y="1"/>
                      <a:pt x="153" y="1"/>
                    </a:cubicBezTo>
                    <a:cubicBezTo>
                      <a:pt x="152" y="0"/>
                      <a:pt x="150" y="0"/>
                      <a:pt x="149" y="0"/>
                    </a:cubicBezTo>
                    <a:cubicBezTo>
                      <a:pt x="147" y="0"/>
                      <a:pt x="146" y="0"/>
                      <a:pt x="144" y="1"/>
                    </a:cubicBezTo>
                    <a:cubicBezTo>
                      <a:pt x="143" y="1"/>
                      <a:pt x="142" y="2"/>
                      <a:pt x="141" y="3"/>
                    </a:cubicBezTo>
                    <a:cubicBezTo>
                      <a:pt x="140" y="4"/>
                      <a:pt x="139" y="5"/>
                      <a:pt x="139" y="6"/>
                    </a:cubicBezTo>
                    <a:cubicBezTo>
                      <a:pt x="139" y="6"/>
                      <a:pt x="138" y="7"/>
                      <a:pt x="138" y="8"/>
                    </a:cubicBezTo>
                    <a:cubicBezTo>
                      <a:pt x="138" y="9"/>
                      <a:pt x="138" y="11"/>
                      <a:pt x="138" y="12"/>
                    </a:cubicBezTo>
                    <a:cubicBezTo>
                      <a:pt x="138" y="13"/>
                      <a:pt x="138" y="15"/>
                      <a:pt x="138" y="17"/>
                    </a:cubicBezTo>
                    <a:cubicBezTo>
                      <a:pt x="138" y="18"/>
                      <a:pt x="138" y="20"/>
                      <a:pt x="138" y="21"/>
                    </a:cubicBezTo>
                    <a:cubicBezTo>
                      <a:pt x="138" y="23"/>
                      <a:pt x="138" y="24"/>
                      <a:pt x="138" y="25"/>
                    </a:cubicBezTo>
                    <a:cubicBezTo>
                      <a:pt x="138" y="26"/>
                      <a:pt x="139" y="27"/>
                      <a:pt x="139" y="27"/>
                    </a:cubicBezTo>
                    <a:cubicBezTo>
                      <a:pt x="139" y="28"/>
                      <a:pt x="140" y="29"/>
                      <a:pt x="141" y="30"/>
                    </a:cubicBezTo>
                    <a:cubicBezTo>
                      <a:pt x="142" y="31"/>
                      <a:pt x="143" y="32"/>
                      <a:pt x="144" y="32"/>
                    </a:cubicBezTo>
                    <a:cubicBezTo>
                      <a:pt x="146" y="33"/>
                      <a:pt x="147" y="33"/>
                      <a:pt x="149" y="33"/>
                    </a:cubicBezTo>
                    <a:cubicBezTo>
                      <a:pt x="150" y="33"/>
                      <a:pt x="152" y="33"/>
                      <a:pt x="153" y="32"/>
                    </a:cubicBezTo>
                    <a:cubicBezTo>
                      <a:pt x="155" y="32"/>
                      <a:pt x="156" y="31"/>
                      <a:pt x="157" y="30"/>
                    </a:cubicBezTo>
                    <a:cubicBezTo>
                      <a:pt x="158" y="29"/>
                      <a:pt x="158" y="28"/>
                      <a:pt x="159" y="27"/>
                    </a:cubicBezTo>
                    <a:cubicBezTo>
                      <a:pt x="159" y="27"/>
                      <a:pt x="159" y="26"/>
                      <a:pt x="160" y="25"/>
                    </a:cubicBezTo>
                    <a:cubicBezTo>
                      <a:pt x="160" y="24"/>
                      <a:pt x="160" y="23"/>
                      <a:pt x="160" y="21"/>
                    </a:cubicBezTo>
                    <a:cubicBezTo>
                      <a:pt x="160" y="20"/>
                      <a:pt x="160" y="18"/>
                      <a:pt x="160" y="17"/>
                    </a:cubicBezTo>
                    <a:cubicBezTo>
                      <a:pt x="160" y="15"/>
                      <a:pt x="160" y="13"/>
                      <a:pt x="160" y="12"/>
                    </a:cubicBezTo>
                    <a:moveTo>
                      <a:pt x="124" y="0"/>
                    </a:move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4" y="33"/>
                      <a:pt x="124" y="33"/>
                      <a:pt x="124" y="33"/>
                    </a:cubicBezTo>
                    <a:lnTo>
                      <a:pt x="124" y="0"/>
                    </a:lnTo>
                    <a:close/>
                    <a:moveTo>
                      <a:pt x="109" y="21"/>
                    </a:moveTo>
                    <a:cubicBezTo>
                      <a:pt x="108" y="19"/>
                      <a:pt x="108" y="19"/>
                      <a:pt x="107" y="18"/>
                    </a:cubicBezTo>
                    <a:cubicBezTo>
                      <a:pt x="106" y="18"/>
                      <a:pt x="106" y="17"/>
                      <a:pt x="106" y="17"/>
                    </a:cubicBezTo>
                    <a:cubicBezTo>
                      <a:pt x="105" y="17"/>
                      <a:pt x="105" y="17"/>
                      <a:pt x="105" y="16"/>
                    </a:cubicBezTo>
                    <a:cubicBezTo>
                      <a:pt x="104" y="16"/>
                      <a:pt x="104" y="16"/>
                      <a:pt x="103" y="16"/>
                    </a:cubicBezTo>
                    <a:cubicBezTo>
                      <a:pt x="102" y="16"/>
                      <a:pt x="102" y="16"/>
                      <a:pt x="101" y="16"/>
                    </a:cubicBezTo>
                    <a:cubicBezTo>
                      <a:pt x="97" y="15"/>
                      <a:pt x="97" y="15"/>
                      <a:pt x="97" y="15"/>
                    </a:cubicBezTo>
                    <a:cubicBezTo>
                      <a:pt x="97" y="15"/>
                      <a:pt x="96" y="15"/>
                      <a:pt x="95" y="14"/>
                    </a:cubicBezTo>
                    <a:cubicBezTo>
                      <a:pt x="94" y="14"/>
                      <a:pt x="93" y="14"/>
                      <a:pt x="93" y="13"/>
                    </a:cubicBezTo>
                    <a:cubicBezTo>
                      <a:pt x="91" y="12"/>
                      <a:pt x="91" y="11"/>
                      <a:pt x="91" y="9"/>
                    </a:cubicBezTo>
                    <a:cubicBezTo>
                      <a:pt x="91" y="7"/>
                      <a:pt x="92" y="5"/>
                      <a:pt x="93" y="4"/>
                    </a:cubicBezTo>
                    <a:cubicBezTo>
                      <a:pt x="94" y="3"/>
                      <a:pt x="96" y="2"/>
                      <a:pt x="98" y="2"/>
                    </a:cubicBezTo>
                    <a:cubicBezTo>
                      <a:pt x="99" y="2"/>
                      <a:pt x="100" y="2"/>
                      <a:pt x="101" y="2"/>
                    </a:cubicBezTo>
                    <a:cubicBezTo>
                      <a:pt x="102" y="3"/>
                      <a:pt x="103" y="3"/>
                      <a:pt x="103" y="3"/>
                    </a:cubicBezTo>
                    <a:cubicBezTo>
                      <a:pt x="104" y="3"/>
                      <a:pt x="104" y="4"/>
                      <a:pt x="105" y="4"/>
                    </a:cubicBezTo>
                    <a:cubicBezTo>
                      <a:pt x="105" y="4"/>
                      <a:pt x="106" y="5"/>
                      <a:pt x="106" y="5"/>
                    </a:cubicBezTo>
                    <a:cubicBezTo>
                      <a:pt x="108" y="4"/>
                      <a:pt x="108" y="4"/>
                      <a:pt x="108" y="4"/>
                    </a:cubicBezTo>
                    <a:cubicBezTo>
                      <a:pt x="107" y="2"/>
                      <a:pt x="105" y="1"/>
                      <a:pt x="104" y="1"/>
                    </a:cubicBezTo>
                    <a:cubicBezTo>
                      <a:pt x="102" y="0"/>
                      <a:pt x="101" y="0"/>
                      <a:pt x="99" y="0"/>
                    </a:cubicBezTo>
                    <a:cubicBezTo>
                      <a:pt x="95" y="0"/>
                      <a:pt x="93" y="1"/>
                      <a:pt x="91" y="2"/>
                    </a:cubicBezTo>
                    <a:cubicBezTo>
                      <a:pt x="89" y="4"/>
                      <a:pt x="89" y="6"/>
                      <a:pt x="89" y="9"/>
                    </a:cubicBezTo>
                    <a:cubicBezTo>
                      <a:pt x="89" y="11"/>
                      <a:pt x="89" y="13"/>
                      <a:pt x="91" y="15"/>
                    </a:cubicBezTo>
                    <a:cubicBezTo>
                      <a:pt x="92" y="16"/>
                      <a:pt x="94" y="17"/>
                      <a:pt x="97" y="17"/>
                    </a:cubicBezTo>
                    <a:cubicBezTo>
                      <a:pt x="101" y="18"/>
                      <a:pt x="101" y="18"/>
                      <a:pt x="101" y="18"/>
                    </a:cubicBezTo>
                    <a:cubicBezTo>
                      <a:pt x="101" y="18"/>
                      <a:pt x="102" y="18"/>
                      <a:pt x="102" y="18"/>
                    </a:cubicBezTo>
                    <a:cubicBezTo>
                      <a:pt x="103" y="18"/>
                      <a:pt x="103" y="18"/>
                      <a:pt x="104" y="19"/>
                    </a:cubicBezTo>
                    <a:cubicBezTo>
                      <a:pt x="104" y="19"/>
                      <a:pt x="104" y="19"/>
                      <a:pt x="105" y="19"/>
                    </a:cubicBezTo>
                    <a:cubicBezTo>
                      <a:pt x="105" y="19"/>
                      <a:pt x="105" y="19"/>
                      <a:pt x="105" y="20"/>
                    </a:cubicBezTo>
                    <a:cubicBezTo>
                      <a:pt x="107" y="21"/>
                      <a:pt x="107" y="22"/>
                      <a:pt x="107" y="24"/>
                    </a:cubicBezTo>
                    <a:cubicBezTo>
                      <a:pt x="107" y="26"/>
                      <a:pt x="106" y="28"/>
                      <a:pt x="105" y="29"/>
                    </a:cubicBezTo>
                    <a:cubicBezTo>
                      <a:pt x="103" y="30"/>
                      <a:pt x="101" y="31"/>
                      <a:pt x="99" y="31"/>
                    </a:cubicBezTo>
                    <a:cubicBezTo>
                      <a:pt x="98" y="31"/>
                      <a:pt x="97" y="31"/>
                      <a:pt x="96" y="31"/>
                    </a:cubicBezTo>
                    <a:cubicBezTo>
                      <a:pt x="95" y="31"/>
                      <a:pt x="95" y="30"/>
                      <a:pt x="94" y="30"/>
                    </a:cubicBezTo>
                    <a:cubicBezTo>
                      <a:pt x="93" y="30"/>
                      <a:pt x="92" y="29"/>
                      <a:pt x="92" y="29"/>
                    </a:cubicBezTo>
                    <a:cubicBezTo>
                      <a:pt x="91" y="28"/>
                      <a:pt x="90" y="28"/>
                      <a:pt x="90" y="27"/>
                    </a:cubicBezTo>
                    <a:cubicBezTo>
                      <a:pt x="88" y="29"/>
                      <a:pt x="88" y="29"/>
                      <a:pt x="88" y="29"/>
                    </a:cubicBezTo>
                    <a:cubicBezTo>
                      <a:pt x="89" y="30"/>
                      <a:pt x="89" y="30"/>
                      <a:pt x="90" y="31"/>
                    </a:cubicBezTo>
                    <a:cubicBezTo>
                      <a:pt x="91" y="31"/>
                      <a:pt x="92" y="32"/>
                      <a:pt x="93" y="32"/>
                    </a:cubicBezTo>
                    <a:cubicBezTo>
                      <a:pt x="93" y="32"/>
                      <a:pt x="94" y="33"/>
                      <a:pt x="95" y="33"/>
                    </a:cubicBezTo>
                    <a:cubicBezTo>
                      <a:pt x="96" y="33"/>
                      <a:pt x="97" y="33"/>
                      <a:pt x="99" y="33"/>
                    </a:cubicBezTo>
                    <a:cubicBezTo>
                      <a:pt x="102" y="33"/>
                      <a:pt x="105" y="32"/>
                      <a:pt x="107" y="31"/>
                    </a:cubicBezTo>
                    <a:cubicBezTo>
                      <a:pt x="109" y="29"/>
                      <a:pt x="110" y="27"/>
                      <a:pt x="110" y="24"/>
                    </a:cubicBezTo>
                    <a:cubicBezTo>
                      <a:pt x="110" y="23"/>
                      <a:pt x="109" y="22"/>
                      <a:pt x="109" y="21"/>
                    </a:cubicBezTo>
                    <a:moveTo>
                      <a:pt x="78" y="21"/>
                    </a:moveTo>
                    <a:cubicBezTo>
                      <a:pt x="77" y="19"/>
                      <a:pt x="77" y="19"/>
                      <a:pt x="76" y="18"/>
                    </a:cubicBezTo>
                    <a:cubicBezTo>
                      <a:pt x="75" y="18"/>
                      <a:pt x="75" y="17"/>
                      <a:pt x="75" y="17"/>
                    </a:cubicBezTo>
                    <a:cubicBezTo>
                      <a:pt x="74" y="17"/>
                      <a:pt x="74" y="17"/>
                      <a:pt x="73" y="16"/>
                    </a:cubicBezTo>
                    <a:cubicBezTo>
                      <a:pt x="73" y="16"/>
                      <a:pt x="72" y="16"/>
                      <a:pt x="72" y="16"/>
                    </a:cubicBezTo>
                    <a:cubicBezTo>
                      <a:pt x="71" y="16"/>
                      <a:pt x="71" y="16"/>
                      <a:pt x="70" y="16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5" y="15"/>
                      <a:pt x="65" y="15"/>
                      <a:pt x="64" y="14"/>
                    </a:cubicBezTo>
                    <a:cubicBezTo>
                      <a:pt x="63" y="14"/>
                      <a:pt x="62" y="14"/>
                      <a:pt x="62" y="13"/>
                    </a:cubicBezTo>
                    <a:cubicBezTo>
                      <a:pt x="60" y="12"/>
                      <a:pt x="60" y="11"/>
                      <a:pt x="60" y="9"/>
                    </a:cubicBezTo>
                    <a:cubicBezTo>
                      <a:pt x="60" y="7"/>
                      <a:pt x="61" y="5"/>
                      <a:pt x="62" y="4"/>
                    </a:cubicBezTo>
                    <a:cubicBezTo>
                      <a:pt x="63" y="3"/>
                      <a:pt x="65" y="2"/>
                      <a:pt x="67" y="2"/>
                    </a:cubicBezTo>
                    <a:cubicBezTo>
                      <a:pt x="68" y="2"/>
                      <a:pt x="69" y="2"/>
                      <a:pt x="70" y="2"/>
                    </a:cubicBezTo>
                    <a:cubicBezTo>
                      <a:pt x="71" y="3"/>
                      <a:pt x="71" y="3"/>
                      <a:pt x="72" y="3"/>
                    </a:cubicBezTo>
                    <a:cubicBezTo>
                      <a:pt x="73" y="3"/>
                      <a:pt x="73" y="4"/>
                      <a:pt x="74" y="4"/>
                    </a:cubicBezTo>
                    <a:cubicBezTo>
                      <a:pt x="74" y="4"/>
                      <a:pt x="75" y="5"/>
                      <a:pt x="75" y="5"/>
                    </a:cubicBezTo>
                    <a:cubicBezTo>
                      <a:pt x="77" y="4"/>
                      <a:pt x="77" y="4"/>
                      <a:pt x="77" y="4"/>
                    </a:cubicBezTo>
                    <a:cubicBezTo>
                      <a:pt x="75" y="2"/>
                      <a:pt x="74" y="1"/>
                      <a:pt x="73" y="1"/>
                    </a:cubicBezTo>
                    <a:cubicBezTo>
                      <a:pt x="71" y="0"/>
                      <a:pt x="70" y="0"/>
                      <a:pt x="68" y="0"/>
                    </a:cubicBezTo>
                    <a:cubicBezTo>
                      <a:pt x="64" y="0"/>
                      <a:pt x="62" y="1"/>
                      <a:pt x="60" y="2"/>
                    </a:cubicBezTo>
                    <a:cubicBezTo>
                      <a:pt x="58" y="4"/>
                      <a:pt x="57" y="6"/>
                      <a:pt x="57" y="9"/>
                    </a:cubicBezTo>
                    <a:cubicBezTo>
                      <a:pt x="57" y="11"/>
                      <a:pt x="58" y="13"/>
                      <a:pt x="60" y="15"/>
                    </a:cubicBezTo>
                    <a:cubicBezTo>
                      <a:pt x="61" y="16"/>
                      <a:pt x="63" y="17"/>
                      <a:pt x="66" y="17"/>
                    </a:cubicBezTo>
                    <a:cubicBezTo>
                      <a:pt x="70" y="18"/>
                      <a:pt x="70" y="18"/>
                      <a:pt x="70" y="18"/>
                    </a:cubicBezTo>
                    <a:cubicBezTo>
                      <a:pt x="70" y="18"/>
                      <a:pt x="71" y="18"/>
                      <a:pt x="71" y="18"/>
                    </a:cubicBezTo>
                    <a:cubicBezTo>
                      <a:pt x="72" y="18"/>
                      <a:pt x="72" y="18"/>
                      <a:pt x="73" y="19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4" y="19"/>
                      <a:pt x="74" y="19"/>
                      <a:pt x="74" y="20"/>
                    </a:cubicBezTo>
                    <a:cubicBezTo>
                      <a:pt x="76" y="21"/>
                      <a:pt x="76" y="22"/>
                      <a:pt x="76" y="24"/>
                    </a:cubicBezTo>
                    <a:cubicBezTo>
                      <a:pt x="76" y="26"/>
                      <a:pt x="75" y="28"/>
                      <a:pt x="74" y="29"/>
                    </a:cubicBezTo>
                    <a:cubicBezTo>
                      <a:pt x="72" y="30"/>
                      <a:pt x="70" y="31"/>
                      <a:pt x="68" y="31"/>
                    </a:cubicBezTo>
                    <a:cubicBezTo>
                      <a:pt x="67" y="31"/>
                      <a:pt x="66" y="31"/>
                      <a:pt x="65" y="31"/>
                    </a:cubicBezTo>
                    <a:cubicBezTo>
                      <a:pt x="64" y="31"/>
                      <a:pt x="63" y="30"/>
                      <a:pt x="63" y="30"/>
                    </a:cubicBezTo>
                    <a:cubicBezTo>
                      <a:pt x="62" y="30"/>
                      <a:pt x="61" y="29"/>
                      <a:pt x="61" y="29"/>
                    </a:cubicBezTo>
                    <a:cubicBezTo>
                      <a:pt x="60" y="28"/>
                      <a:pt x="59" y="28"/>
                      <a:pt x="58" y="27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8" y="30"/>
                      <a:pt x="59" y="31"/>
                    </a:cubicBezTo>
                    <a:cubicBezTo>
                      <a:pt x="60" y="31"/>
                      <a:pt x="61" y="32"/>
                      <a:pt x="61" y="32"/>
                    </a:cubicBezTo>
                    <a:cubicBezTo>
                      <a:pt x="62" y="32"/>
                      <a:pt x="63" y="33"/>
                      <a:pt x="64" y="33"/>
                    </a:cubicBezTo>
                    <a:cubicBezTo>
                      <a:pt x="65" y="33"/>
                      <a:pt x="66" y="33"/>
                      <a:pt x="68" y="33"/>
                    </a:cubicBezTo>
                    <a:cubicBezTo>
                      <a:pt x="71" y="33"/>
                      <a:pt x="74" y="32"/>
                      <a:pt x="76" y="31"/>
                    </a:cubicBezTo>
                    <a:cubicBezTo>
                      <a:pt x="78" y="29"/>
                      <a:pt x="79" y="27"/>
                      <a:pt x="79" y="24"/>
                    </a:cubicBezTo>
                    <a:cubicBezTo>
                      <a:pt x="79" y="23"/>
                      <a:pt x="78" y="22"/>
                      <a:pt x="78" y="21"/>
                    </a:cubicBezTo>
                    <a:moveTo>
                      <a:pt x="45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5" y="33"/>
                      <a:pt x="45" y="33"/>
                      <a:pt x="45" y="33"/>
                    </a:cubicBezTo>
                    <a:lnTo>
                      <a:pt x="45" y="0"/>
                    </a:lnTo>
                    <a:close/>
                    <a:moveTo>
                      <a:pt x="28" y="33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33"/>
                      <a:pt x="25" y="33"/>
                      <a:pt x="25" y="33"/>
                    </a:cubicBezTo>
                    <a:lnTo>
                      <a:pt x="28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" name="Rectangle 185"/>
              <p:cNvSpPr>
                <a:spLocks noChangeArrowheads="1"/>
              </p:cNvSpPr>
              <p:nvPr/>
            </p:nvSpPr>
            <p:spPr bwMode="auto">
              <a:xfrm>
                <a:off x="1928" y="189"/>
                <a:ext cx="37" cy="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" name="Rectangle 186"/>
              <p:cNvSpPr>
                <a:spLocks noChangeArrowheads="1"/>
              </p:cNvSpPr>
              <p:nvPr/>
            </p:nvSpPr>
            <p:spPr bwMode="auto">
              <a:xfrm>
                <a:off x="1928" y="248"/>
                <a:ext cx="37" cy="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" name="Rectangle 187"/>
              <p:cNvSpPr>
                <a:spLocks noChangeArrowheads="1"/>
              </p:cNvSpPr>
              <p:nvPr/>
            </p:nvSpPr>
            <p:spPr bwMode="auto">
              <a:xfrm>
                <a:off x="1928" y="294"/>
                <a:ext cx="37" cy="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" name="Rectangle 188"/>
              <p:cNvSpPr>
                <a:spLocks noChangeArrowheads="1"/>
              </p:cNvSpPr>
              <p:nvPr/>
            </p:nvSpPr>
            <p:spPr bwMode="auto">
              <a:xfrm>
                <a:off x="1928" y="339"/>
                <a:ext cx="37" cy="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5" name="Group 113">
            <a:extLst>
              <a:ext uri="{FF2B5EF4-FFF2-40B4-BE49-F238E27FC236}">
                <a16:creationId xmlns:a16="http://schemas.microsoft.com/office/drawing/2014/main" xmlns="" id="{F0A6F9F4-586F-4F63-BC70-2CA435E6B314}"/>
              </a:ext>
            </a:extLst>
          </p:cNvPr>
          <p:cNvGrpSpPr/>
          <p:nvPr/>
        </p:nvGrpSpPr>
        <p:grpSpPr>
          <a:xfrm>
            <a:off x="3635897" y="3705876"/>
            <a:ext cx="2068525" cy="578644"/>
            <a:chOff x="4223792" y="4133851"/>
            <a:chExt cx="3744416" cy="771525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xmlns="" id="{B3CD0FC4-983C-4319-9096-C89A51A753D0}"/>
                </a:ext>
              </a:extLst>
            </p:cNvPr>
            <p:cNvSpPr/>
            <p:nvPr/>
          </p:nvSpPr>
          <p:spPr>
            <a:xfrm>
              <a:off x="4223792" y="4691376"/>
              <a:ext cx="3744416" cy="21400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IN" dirty="0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xmlns="" id="{513B51A1-CAFA-41E5-9E9C-3C648EEF50FE}"/>
                </a:ext>
              </a:extLst>
            </p:cNvPr>
            <p:cNvSpPr/>
            <p:nvPr/>
          </p:nvSpPr>
          <p:spPr>
            <a:xfrm>
              <a:off x="4223792" y="4133851"/>
              <a:ext cx="3744416" cy="529286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IN" sz="4000" b="1" dirty="0">
                  <a:solidFill>
                    <a:schemeClr val="tx1"/>
                  </a:solidFill>
                </a:rPr>
                <a:t>Thanks</a:t>
              </a:r>
            </a:p>
          </p:txBody>
        </p:sp>
      </p:grpSp>
      <p:pic>
        <p:nvPicPr>
          <p:cNvPr id="117" name="Picture 116" descr="Image result for Pranaam symbol">
            <a:extLst>
              <a:ext uri="{FF2B5EF4-FFF2-40B4-BE49-F238E27FC236}">
                <a16:creationId xmlns:a16="http://schemas.microsoft.com/office/drawing/2014/main" xmlns="" id="{29E9A334-336D-4C6C-91D9-0C0EA830B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67944" y="2517744"/>
            <a:ext cx="1152128" cy="1134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59467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22">
            <a:extLst>
              <a:ext uri="{FF2B5EF4-FFF2-40B4-BE49-F238E27FC236}">
                <a16:creationId xmlns:a16="http://schemas.microsoft.com/office/drawing/2014/main" xmlns="" id="{364388F7-B77D-40E8-AB72-726716A8FE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1899" y="3165294"/>
            <a:ext cx="3819525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endParaRPr lang="en-US" altLang="en-US" sz="2100" dirty="0">
              <a:latin typeface="+mn-lt"/>
            </a:endParaRPr>
          </a:p>
        </p:txBody>
      </p:sp>
      <p:sp>
        <p:nvSpPr>
          <p:cNvPr id="36" name="TextBox 25">
            <a:extLst>
              <a:ext uri="{FF2B5EF4-FFF2-40B4-BE49-F238E27FC236}">
                <a16:creationId xmlns:a16="http://schemas.microsoft.com/office/drawing/2014/main" xmlns="" id="{69E2171A-764B-42B1-9A9B-7981256F4F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84319" y="2623982"/>
            <a:ext cx="4099322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endParaRPr lang="en-US" altLang="en-US" sz="2100" dirty="0">
              <a:latin typeface="+mn-lt"/>
            </a:endParaRPr>
          </a:p>
        </p:txBody>
      </p:sp>
      <p:graphicFrame>
        <p:nvGraphicFramePr>
          <p:cNvPr id="28" name="Diagram 27"/>
          <p:cNvGraphicFramePr/>
          <p:nvPr/>
        </p:nvGraphicFramePr>
        <p:xfrm>
          <a:off x="-18185" y="0"/>
          <a:ext cx="9148549" cy="5143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995781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72008" y="679135"/>
            <a:ext cx="5580112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3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India urbanizing rapidly:</a:t>
            </a:r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2011-  </a:t>
            </a:r>
            <a:r>
              <a:rPr lang="en-IN" sz="2000" b="1" dirty="0" smtClean="0"/>
              <a:t>31%  (37 Cr.)</a:t>
            </a:r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2050- </a:t>
            </a:r>
            <a:r>
              <a:rPr lang="en-IN" sz="2000" b="1" dirty="0" smtClean="0"/>
              <a:t>&gt;50%  (81 Cr.)</a:t>
            </a:r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endParaRPr lang="en-IN" sz="1200" dirty="0" smtClean="0"/>
          </a:p>
          <a:p>
            <a:pPr marL="265113" lvl="0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Real Estate market:</a:t>
            </a:r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2017:   </a:t>
            </a:r>
            <a:r>
              <a:rPr lang="en-IN" sz="2000" b="1" dirty="0" smtClean="0"/>
              <a:t>US $ 120 billion </a:t>
            </a:r>
            <a:endParaRPr lang="en-IN" sz="2000" dirty="0" smtClean="0"/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2030:</a:t>
            </a:r>
            <a:r>
              <a:rPr lang="en-IN" sz="2000" b="1" dirty="0" smtClean="0"/>
              <a:t> ~ US $1 trillion</a:t>
            </a:r>
          </a:p>
          <a:p>
            <a:pPr marL="265113" lvl="0" indent="-265113" algn="just">
              <a:buFont typeface="Arial" panose="020B0604020202020204" pitchFamily="34" charset="0"/>
              <a:buChar char="•"/>
            </a:pPr>
            <a:endParaRPr lang="en-IN" sz="1100" dirty="0" smtClean="0"/>
          </a:p>
          <a:p>
            <a:pPr marL="265113" lvl="0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Contribution to GDP</a:t>
            </a:r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2019:</a:t>
            </a:r>
            <a:r>
              <a:rPr lang="en-IN" sz="2000" b="1" dirty="0" smtClean="0"/>
              <a:t>   7% </a:t>
            </a:r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2025:</a:t>
            </a:r>
            <a:r>
              <a:rPr lang="en-IN" sz="2000" b="1" dirty="0" smtClean="0"/>
              <a:t> ~ 13% </a:t>
            </a:r>
          </a:p>
          <a:p>
            <a:pPr marL="265113" lvl="0" indent="-265113" algn="just">
              <a:buFont typeface="Arial" panose="020B0604020202020204" pitchFamily="34" charset="0"/>
              <a:buChar char="•"/>
            </a:pPr>
            <a:endParaRPr lang="en-IN" sz="1100" dirty="0" smtClean="0"/>
          </a:p>
          <a:p>
            <a:pPr marL="265113" lvl="0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Real Estate employment:</a:t>
            </a:r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endParaRPr lang="en-IN" sz="1100" dirty="0" smtClean="0"/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2013: </a:t>
            </a:r>
            <a:r>
              <a:rPr lang="en-IN" sz="2000" b="1" dirty="0" smtClean="0"/>
              <a:t>&gt;</a:t>
            </a:r>
            <a:r>
              <a:rPr lang="en-IN" sz="2000" dirty="0" smtClean="0"/>
              <a:t> </a:t>
            </a:r>
            <a:r>
              <a:rPr lang="en-IN" sz="2000" b="1" dirty="0" smtClean="0"/>
              <a:t>4 Cr.</a:t>
            </a:r>
          </a:p>
          <a:p>
            <a:pPr marL="722313" lvl="1" indent="-265113" algn="just">
              <a:buFont typeface="Arial" panose="020B0604020202020204" pitchFamily="34" charset="0"/>
              <a:buChar char="•"/>
            </a:pPr>
            <a:r>
              <a:rPr lang="en-IN" sz="2000" dirty="0" smtClean="0"/>
              <a:t>2020:</a:t>
            </a:r>
            <a:r>
              <a:rPr lang="en-IN" sz="2000" b="1" dirty="0" smtClean="0"/>
              <a:t> ~ 5.5 Cr.</a:t>
            </a:r>
            <a:endParaRPr lang="en-IN" sz="2000" i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25F7A4-0E39-49A6-BB1F-A550374223CF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2" name="TextBox 1"/>
          <p:cNvSpPr txBox="1"/>
          <p:nvPr/>
        </p:nvSpPr>
        <p:spPr>
          <a:xfrm>
            <a:off x="4355976" y="4569973"/>
            <a:ext cx="44127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b="1" i="1" dirty="0" smtClean="0"/>
              <a:t>Source: </a:t>
            </a:r>
            <a:r>
              <a:rPr lang="en-IN" sz="1200" i="1" dirty="0" smtClean="0"/>
              <a:t>UN report on World Urbanisation Prospects (2018)</a:t>
            </a:r>
            <a:endParaRPr lang="en-IN" sz="1200" i="1" dirty="0"/>
          </a:p>
        </p:txBody>
      </p:sp>
      <p:sp>
        <p:nvSpPr>
          <p:cNvPr id="14" name="Rectangle 13"/>
          <p:cNvSpPr/>
          <p:nvPr/>
        </p:nvSpPr>
        <p:spPr>
          <a:xfrm>
            <a:off x="1474150" y="183339"/>
            <a:ext cx="6076144" cy="4750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72504" algn="r"/>
            <a:r>
              <a:rPr lang="en-US" sz="3200" b="1" dirty="0" smtClean="0">
                <a:solidFill>
                  <a:schemeClr val="bg1">
                    <a:lumMod val="50000"/>
                  </a:schemeClr>
                </a:solidFill>
              </a:rPr>
              <a:t>Rapid Urbanization…</a:t>
            </a:r>
            <a:endParaRPr lang="en-US" sz="3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12060" y="637006"/>
            <a:ext cx="7538234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74631" y="24901"/>
            <a:ext cx="2599037" cy="56513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print"/>
          <a:srcRect l="19792" t="12222" r="17708" b="12037"/>
          <a:stretch/>
        </p:blipFill>
        <p:spPr>
          <a:xfrm>
            <a:off x="4394579" y="753729"/>
            <a:ext cx="4675171" cy="3708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456320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1514904" y="243057"/>
            <a:ext cx="7301552" cy="429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72504" algn="r">
              <a:defRPr sz="3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/>
            <a:r>
              <a:rPr lang="en-I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l Estate (Regulation and Development) Act, 2016 [RERA]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19229" y="19229"/>
            <a:ext cx="1454921" cy="60318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684897" y="873458"/>
            <a:ext cx="5104262" cy="430117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273050" lvl="0" indent="-273050" algn="just" fontAlgn="base">
              <a:buFont typeface="Arial" pitchFamily="34" charset="0"/>
              <a:buChar char="•"/>
            </a:pPr>
            <a:r>
              <a:rPr lang="en-GB" sz="2300" dirty="0" smtClean="0"/>
              <a:t>A </a:t>
            </a:r>
            <a:r>
              <a:rPr lang="en-GB" sz="2300" b="1" dirty="0" smtClean="0"/>
              <a:t>transformative</a:t>
            </a:r>
            <a:r>
              <a:rPr lang="en-GB" sz="2300" dirty="0" smtClean="0"/>
              <a:t> legislation- enacted in 2016- marked the beginning of </a:t>
            </a:r>
            <a:r>
              <a:rPr lang="en-GB" sz="2300" b="1" dirty="0" smtClean="0"/>
              <a:t>a new era </a:t>
            </a:r>
            <a:r>
              <a:rPr lang="en-GB" sz="2300" dirty="0" smtClean="0"/>
              <a:t>in Real Estate Sector</a:t>
            </a:r>
          </a:p>
          <a:p>
            <a:pPr marL="273050" lvl="0" indent="-273050" algn="just" fontAlgn="base">
              <a:buFont typeface="Arial" pitchFamily="34" charset="0"/>
              <a:buChar char="•"/>
            </a:pPr>
            <a:endParaRPr lang="en-GB" sz="800" dirty="0" smtClean="0"/>
          </a:p>
          <a:p>
            <a:pPr marL="273050" lvl="0" indent="-273050" algn="just" fontAlgn="base">
              <a:buFont typeface="Arial" pitchFamily="34" charset="0"/>
              <a:buChar char="•"/>
            </a:pPr>
            <a:r>
              <a:rPr lang="en-GB" sz="2300" dirty="0" smtClean="0"/>
              <a:t>Seeks to </a:t>
            </a:r>
            <a:r>
              <a:rPr lang="en-GB" sz="2300" b="1" dirty="0" smtClean="0"/>
              <a:t>regularize </a:t>
            </a:r>
            <a:r>
              <a:rPr lang="en-GB" sz="2300" dirty="0" smtClean="0"/>
              <a:t>&amp; </a:t>
            </a:r>
            <a:r>
              <a:rPr lang="en-GB" sz="2300" b="1" dirty="0" smtClean="0"/>
              <a:t>promote </a:t>
            </a:r>
            <a:r>
              <a:rPr lang="en-GB" sz="2300" dirty="0" smtClean="0"/>
              <a:t>Real Estate Sector and protect interest of homebuyers in </a:t>
            </a:r>
            <a:r>
              <a:rPr lang="en-GB" sz="2300" b="1" dirty="0" smtClean="0"/>
              <a:t>transparent </a:t>
            </a:r>
            <a:r>
              <a:rPr lang="en-GB" sz="2300" dirty="0" smtClean="0"/>
              <a:t>&amp; </a:t>
            </a:r>
            <a:r>
              <a:rPr lang="en-GB" sz="2300" b="1" dirty="0" smtClean="0"/>
              <a:t>accountable </a:t>
            </a:r>
            <a:r>
              <a:rPr lang="en-GB" sz="2300" dirty="0" smtClean="0"/>
              <a:t>manner</a:t>
            </a:r>
          </a:p>
          <a:p>
            <a:pPr marL="273050" lvl="0" indent="-273050" algn="just" fontAlgn="base">
              <a:buFont typeface="Arial" pitchFamily="34" charset="0"/>
              <a:buChar char="•"/>
            </a:pPr>
            <a:endParaRPr lang="en-GB" sz="1000" dirty="0" smtClean="0"/>
          </a:p>
          <a:p>
            <a:pPr marL="273050" lvl="0" indent="-273050" algn="just" fontAlgn="base">
              <a:buFont typeface="Arial" pitchFamily="34" charset="0"/>
              <a:buChar char="•"/>
            </a:pPr>
            <a:r>
              <a:rPr lang="en-US" sz="2300" dirty="0" smtClean="0"/>
              <a:t>Ensures </a:t>
            </a:r>
            <a:r>
              <a:rPr lang="en-US" sz="2300" b="1" dirty="0" smtClean="0"/>
              <a:t>fair transactions</a:t>
            </a:r>
            <a:r>
              <a:rPr lang="en-US" sz="2300" dirty="0" smtClean="0"/>
              <a:t>, </a:t>
            </a:r>
            <a:r>
              <a:rPr lang="en-US" sz="2300" b="1" dirty="0" smtClean="0"/>
              <a:t>timely delivery </a:t>
            </a:r>
            <a:r>
              <a:rPr lang="en-US" sz="2300" dirty="0" smtClean="0"/>
              <a:t>&amp; </a:t>
            </a:r>
            <a:r>
              <a:rPr lang="en-US" sz="2300" b="1" dirty="0" smtClean="0"/>
              <a:t>quality construction </a:t>
            </a:r>
            <a:r>
              <a:rPr lang="en-US" sz="2300" dirty="0" smtClean="0"/>
              <a:t>through </a:t>
            </a:r>
            <a:r>
              <a:rPr lang="en-GB" sz="2300" b="1" dirty="0" smtClean="0"/>
              <a:t>speedy adjudication </a:t>
            </a:r>
            <a:r>
              <a:rPr lang="en-GB" sz="2300" dirty="0" smtClean="0"/>
              <a:t>of disput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DEB109A3-A9AD-452A-90B6-AC8DE2620DA1}" type="slidenum">
              <a:rPr lang="en-US" sz="9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685800">
                <a:defRPr/>
              </a:pPr>
              <a:t>4</a:t>
            </a:fld>
            <a:endParaRPr lang="en-US" sz="9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xmlns="" id="{3BDADB06-063F-4155-960E-0A4C89B7B89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sharpenSoften amount="25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rcRect t="44640" r="24156" b="11668"/>
          <a:stretch/>
        </p:blipFill>
        <p:spPr>
          <a:xfrm>
            <a:off x="0" y="1009900"/>
            <a:ext cx="3562066" cy="2168287"/>
          </a:xfrm>
          <a:prstGeom prst="rect">
            <a:avLst/>
          </a:prstGeom>
        </p:spPr>
      </p:pic>
      <p:pic>
        <p:nvPicPr>
          <p:cNvPr id="8" name="Picture 7" descr="C:\Users\puneet.tripathi\Desktop\GH7.jpg"/>
          <p:cNvPicPr/>
          <p:nvPr/>
        </p:nvPicPr>
        <p:blipFill>
          <a:blip r:embed="rId7" cstate="print"/>
          <a:srcRect l="19691" b="8470"/>
          <a:stretch>
            <a:fillRect/>
          </a:stretch>
        </p:blipFill>
        <p:spPr bwMode="auto">
          <a:xfrm>
            <a:off x="0" y="3179966"/>
            <a:ext cx="3562066" cy="1965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512343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1419369" y="106579"/>
            <a:ext cx="7301552" cy="429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72504" algn="r">
              <a:defRPr sz="3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algn="ctr"/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RA: Implementation Progress</a:t>
            </a:r>
            <a:endParaRPr lang="en-IN" sz="2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19229" y="19229"/>
            <a:ext cx="1454921" cy="603186"/>
          </a:xfrm>
          <a:prstGeom prst="rect">
            <a:avLst/>
          </a:prstGeom>
        </p:spPr>
      </p:pic>
      <p:grpSp>
        <p:nvGrpSpPr>
          <p:cNvPr id="4" name="Group 6"/>
          <p:cNvGrpSpPr/>
          <p:nvPr/>
        </p:nvGrpSpPr>
        <p:grpSpPr>
          <a:xfrm>
            <a:off x="229227" y="1398605"/>
            <a:ext cx="4242867" cy="2571371"/>
            <a:chOff x="968982" y="2297885"/>
            <a:chExt cx="5657155" cy="3428496"/>
          </a:xfrm>
        </p:grpSpPr>
        <p:sp>
          <p:nvSpPr>
            <p:cNvPr id="16" name="Rectangle 1436"/>
            <p:cNvSpPr>
              <a:spLocks noChangeArrowheads="1"/>
            </p:cNvSpPr>
            <p:nvPr/>
          </p:nvSpPr>
          <p:spPr bwMode="auto">
            <a:xfrm>
              <a:off x="1454353" y="3447089"/>
              <a:ext cx="3770770" cy="318036"/>
            </a:xfrm>
            <a:prstGeom prst="rect">
              <a:avLst/>
            </a:prstGeom>
            <a:extLst/>
          </p:spPr>
          <p:txBody>
            <a:bodyPr vert="horz" wrap="square" lIns="68580" tIns="34290" rIns="68580" bIns="34290" rtlCol="0">
              <a:spAutoFit/>
            </a:bodyPr>
            <a:lstStyle/>
            <a:p>
              <a:pPr>
                <a:buFont typeface="Arial" pitchFamily="34" charset="0"/>
                <a:buNone/>
              </a:pP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968982" y="2308552"/>
              <a:ext cx="2302340" cy="861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latin typeface="Arial Narrow" panose="020B0606020202030204" pitchFamily="34" charset="0"/>
                  <a:cs typeface="Segoe UI" panose="020B0502040204020203" pitchFamily="34" charset="0"/>
                </a:rPr>
                <a:t>Rules Notification</a:t>
              </a:r>
            </a:p>
            <a:p>
              <a:r>
                <a:rPr lang="en-US" sz="2100" dirty="0" smtClean="0">
                  <a:solidFill>
                    <a:schemeClr val="accent1">
                      <a:lumMod val="75000"/>
                    </a:schemeClr>
                  </a:solidFill>
                  <a:latin typeface="Impact" panose="020B0806030902050204" pitchFamily="34" charset="0"/>
                  <a:cs typeface="Baskerville Old Face"/>
                </a:rPr>
                <a:t>34 States/UTs</a:t>
              </a:r>
              <a:endParaRPr lang="en-US" sz="21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Baskerville Old Face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968982" y="3530882"/>
              <a:ext cx="3440686" cy="861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dirty="0">
                  <a:latin typeface="Arial Narrow" panose="020B0606020202030204" pitchFamily="34" charset="0"/>
                  <a:cs typeface="Segoe UI" panose="020B0502040204020203" pitchFamily="34" charset="0"/>
                </a:rPr>
                <a:t>Regulatory Authorities constituted </a:t>
              </a:r>
            </a:p>
            <a:p>
              <a:r>
                <a:rPr lang="en-US" sz="2100" dirty="0" smtClean="0">
                  <a:solidFill>
                    <a:schemeClr val="accent1">
                      <a:lumMod val="75000"/>
                    </a:schemeClr>
                  </a:solidFill>
                  <a:latin typeface="Impact" panose="020B0806030902050204" pitchFamily="34" charset="0"/>
                  <a:cs typeface="Baskerville Old Face"/>
                </a:rPr>
                <a:t>30 States/ UTs</a:t>
              </a:r>
              <a:endParaRPr lang="en-US" sz="21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Baskerville Old Face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980202" y="4839907"/>
              <a:ext cx="2812650" cy="861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dirty="0">
                  <a:latin typeface="Arial Narrow" panose="020B0606020202030204" pitchFamily="34" charset="0"/>
                  <a:cs typeface="Segoe UI" panose="020B0502040204020203" pitchFamily="34" charset="0"/>
                </a:rPr>
                <a:t>Appellate Tribunals formed </a:t>
              </a:r>
              <a:endParaRPr lang="en-IN" dirty="0" smtClean="0">
                <a:latin typeface="Arial Narrow" panose="020B0606020202030204" pitchFamily="34" charset="0"/>
                <a:cs typeface="Segoe UI" panose="020B0502040204020203" pitchFamily="34" charset="0"/>
              </a:endParaRPr>
            </a:p>
            <a:p>
              <a:r>
                <a:rPr lang="en-US" sz="2100" dirty="0" smtClean="0">
                  <a:solidFill>
                    <a:schemeClr val="accent1">
                      <a:lumMod val="75000"/>
                    </a:schemeClr>
                  </a:solidFill>
                  <a:latin typeface="Impact" panose="020B0806030902050204" pitchFamily="34" charset="0"/>
                  <a:cs typeface="Baskerville Old Face"/>
                </a:rPr>
                <a:t>28 States/ UTs</a:t>
              </a:r>
              <a:endParaRPr lang="en-US" sz="21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Baskerville Old Face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541806" y="2297885"/>
              <a:ext cx="2084331" cy="861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latin typeface="Arial Narrow" panose="020B0606020202030204" pitchFamily="34" charset="0"/>
                  <a:cs typeface="Segoe UI" panose="020B0502040204020203" pitchFamily="34" charset="0"/>
                </a:rPr>
                <a:t>Projects Registered</a:t>
              </a:r>
            </a:p>
            <a:p>
              <a:r>
                <a:rPr lang="en-US" sz="2100" dirty="0" smtClean="0">
                  <a:solidFill>
                    <a:schemeClr val="accent4">
                      <a:lumMod val="75000"/>
                    </a:schemeClr>
                  </a:solidFill>
                  <a:latin typeface="Impact" panose="020B0806030902050204" pitchFamily="34" charset="0"/>
                  <a:cs typeface="Baskerville Old Face"/>
                </a:rPr>
                <a:t>67,313</a:t>
              </a:r>
              <a:endParaRPr lang="en-US" sz="2100" dirty="0">
                <a:solidFill>
                  <a:schemeClr val="accent4">
                    <a:lumMod val="75000"/>
                  </a:schemeClr>
                </a:solidFill>
                <a:latin typeface="Impact" panose="020B0806030902050204" pitchFamily="34" charset="0"/>
                <a:cs typeface="Baskerville Old Face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557588" y="3530883"/>
              <a:ext cx="1979602" cy="861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 smtClean="0">
                  <a:latin typeface="Arial Narrow" panose="020B0606020202030204" pitchFamily="34" charset="0"/>
                  <a:cs typeface="Segoe UI" panose="020B0502040204020203" pitchFamily="34" charset="0"/>
                </a:rPr>
                <a:t>Agents Registered</a:t>
              </a:r>
            </a:p>
            <a:p>
              <a:r>
                <a:rPr lang="en-US" sz="2100" dirty="0" smtClean="0">
                  <a:solidFill>
                    <a:schemeClr val="accent4">
                      <a:lumMod val="75000"/>
                    </a:schemeClr>
                  </a:solidFill>
                  <a:latin typeface="Impact" panose="020B0806030902050204" pitchFamily="34" charset="0"/>
                  <a:cs typeface="Baskerville Old Face"/>
                </a:rPr>
                <a:t>51,895</a:t>
              </a:r>
              <a:endParaRPr lang="en-US" sz="2100" dirty="0">
                <a:solidFill>
                  <a:schemeClr val="accent4">
                    <a:lumMod val="75000"/>
                  </a:schemeClr>
                </a:solidFill>
                <a:latin typeface="Impact" panose="020B0806030902050204" pitchFamily="34" charset="0"/>
                <a:cs typeface="Baskerville Old Face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541805" y="4864606"/>
              <a:ext cx="1778693" cy="861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latin typeface="Arial Narrow" panose="020B0606020202030204" pitchFamily="34" charset="0"/>
                  <a:cs typeface="Segoe UI" panose="020B0502040204020203" pitchFamily="34" charset="0"/>
                </a:rPr>
                <a:t>Cases Disposed</a:t>
              </a:r>
            </a:p>
            <a:p>
              <a:r>
                <a:rPr lang="en-US" sz="2100" dirty="0" smtClean="0">
                  <a:solidFill>
                    <a:schemeClr val="accent4">
                      <a:lumMod val="75000"/>
                    </a:schemeClr>
                  </a:solidFill>
                  <a:latin typeface="Impact" panose="020B0806030902050204" pitchFamily="34" charset="0"/>
                  <a:cs typeface="Baskerville Old Face"/>
                </a:rPr>
                <a:t>70,001</a:t>
              </a:r>
              <a:endParaRPr lang="en-US" sz="2100" dirty="0">
                <a:solidFill>
                  <a:schemeClr val="accent4">
                    <a:lumMod val="75000"/>
                  </a:schemeClr>
                </a:solidFill>
                <a:latin typeface="Impact" panose="020B0806030902050204" pitchFamily="34" charset="0"/>
                <a:cs typeface="Baskerville Old Face"/>
              </a:endParaRPr>
            </a:p>
          </p:txBody>
        </p:sp>
      </p:grpSp>
      <p:cxnSp>
        <p:nvCxnSpPr>
          <p:cNvPr id="10" name="Straight Connector 9"/>
          <p:cNvCxnSpPr/>
          <p:nvPr/>
        </p:nvCxnSpPr>
        <p:spPr>
          <a:xfrm>
            <a:off x="53331" y="788299"/>
            <a:ext cx="4368544" cy="3271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DEB109A3-A9AD-452A-90B6-AC8DE2620DA1}" type="slidenum">
              <a:rPr lang="en-US" sz="9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685800">
                <a:defRPr/>
              </a:pPr>
              <a:t>5</a:t>
            </a:fld>
            <a:endParaRPr lang="en-US" sz="9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grpSp>
        <p:nvGrpSpPr>
          <p:cNvPr id="69" name="Group 68"/>
          <p:cNvGrpSpPr/>
          <p:nvPr/>
        </p:nvGrpSpPr>
        <p:grpSpPr>
          <a:xfrm>
            <a:off x="4503761" y="627812"/>
            <a:ext cx="4681183" cy="4353622"/>
            <a:chOff x="6789950" y="853451"/>
            <a:chExt cx="5115820" cy="5548209"/>
          </a:xfrm>
        </p:grpSpPr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789950" y="853451"/>
              <a:ext cx="4966688" cy="5548209"/>
            </a:xfrm>
            <a:prstGeom prst="rect">
              <a:avLst/>
            </a:prstGeom>
          </p:spPr>
        </p:pic>
        <p:sp>
          <p:nvSpPr>
            <p:cNvPr id="71" name="TextBox 70">
              <a:extLst>
                <a:ext uri="{FF2B5EF4-FFF2-40B4-BE49-F238E27FC236}">
                  <a16:creationId xmlns="" xmlns:a16="http://schemas.microsoft.com/office/drawing/2014/main" id="{D239F0F0-2183-4B5A-9E78-FAA4215835EE}"/>
                </a:ext>
              </a:extLst>
            </p:cNvPr>
            <p:cNvSpPr txBox="1"/>
            <p:nvPr/>
          </p:nvSpPr>
          <p:spPr>
            <a:xfrm>
              <a:off x="7555107" y="1386228"/>
              <a:ext cx="6919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Jammu &amp; Kashmir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="" xmlns:a16="http://schemas.microsoft.com/office/drawing/2014/main" id="{13B2A76A-B530-4FBF-B29D-6858CFB5EC33}"/>
                </a:ext>
              </a:extLst>
            </p:cNvPr>
            <p:cNvSpPr txBox="1"/>
            <p:nvPr/>
          </p:nvSpPr>
          <p:spPr>
            <a:xfrm>
              <a:off x="8208668" y="1168799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Ladakh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="" xmlns:a16="http://schemas.microsoft.com/office/drawing/2014/main" id="{AB43C415-37CB-4883-A2F0-A1784303F6B4}"/>
                </a:ext>
              </a:extLst>
            </p:cNvPr>
            <p:cNvSpPr txBox="1"/>
            <p:nvPr/>
          </p:nvSpPr>
          <p:spPr>
            <a:xfrm>
              <a:off x="8723704" y="5901644"/>
              <a:ext cx="1230833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Puducherry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="" xmlns:a16="http://schemas.microsoft.com/office/drawing/2014/main" id="{A30125B1-9AE2-4B0B-9A94-011E1A0D87BF}"/>
                </a:ext>
              </a:extLst>
            </p:cNvPr>
            <p:cNvSpPr txBox="1"/>
            <p:nvPr/>
          </p:nvSpPr>
          <p:spPr>
            <a:xfrm>
              <a:off x="7567626" y="4867567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Goa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="" xmlns:a16="http://schemas.microsoft.com/office/drawing/2014/main" id="{5C7D5683-81D1-4BF7-AAC3-CC5630294B30}"/>
                </a:ext>
              </a:extLst>
            </p:cNvPr>
            <p:cNvSpPr txBox="1"/>
            <p:nvPr/>
          </p:nvSpPr>
          <p:spPr>
            <a:xfrm>
              <a:off x="8275136" y="1774859"/>
              <a:ext cx="1302433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Himachal Pradesh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="" xmlns:a16="http://schemas.microsoft.com/office/drawing/2014/main" id="{9DD9968B-4E26-4E7E-A0EE-D0292B1B9A54}"/>
                </a:ext>
              </a:extLst>
            </p:cNvPr>
            <p:cNvSpPr txBox="1"/>
            <p:nvPr/>
          </p:nvSpPr>
          <p:spPr>
            <a:xfrm>
              <a:off x="7715790" y="1980446"/>
              <a:ext cx="60973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Punjab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="" xmlns:a16="http://schemas.microsoft.com/office/drawing/2014/main" id="{49098A37-0CEE-42D9-B14A-99DA1C55B3F2}"/>
                </a:ext>
              </a:extLst>
            </p:cNvPr>
            <p:cNvSpPr txBox="1"/>
            <p:nvPr/>
          </p:nvSpPr>
          <p:spPr>
            <a:xfrm>
              <a:off x="8554626" y="2105768"/>
              <a:ext cx="87106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Uttarakhand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="" xmlns:a16="http://schemas.microsoft.com/office/drawing/2014/main" id="{45A37118-7C23-4F9F-83D6-CE74656ED153}"/>
                </a:ext>
              </a:extLst>
            </p:cNvPr>
            <p:cNvSpPr txBox="1"/>
            <p:nvPr/>
          </p:nvSpPr>
          <p:spPr>
            <a:xfrm>
              <a:off x="8691279" y="2665851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Uttar Pradesh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="" xmlns:a16="http://schemas.microsoft.com/office/drawing/2014/main" id="{01819BF0-4362-433C-A582-149FB1CD62C1}"/>
                </a:ext>
              </a:extLst>
            </p:cNvPr>
            <p:cNvSpPr txBox="1"/>
            <p:nvPr/>
          </p:nvSpPr>
          <p:spPr>
            <a:xfrm>
              <a:off x="8784412" y="3706359"/>
              <a:ext cx="113772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Chhattisgarh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="" xmlns:a16="http://schemas.microsoft.com/office/drawing/2014/main" id="{2DCDF3A1-EF84-4B67-93DC-A878FBFCA352}"/>
                </a:ext>
              </a:extLst>
            </p:cNvPr>
            <p:cNvSpPr txBox="1"/>
            <p:nvPr/>
          </p:nvSpPr>
          <p:spPr>
            <a:xfrm>
              <a:off x="9339121" y="3290763"/>
              <a:ext cx="857473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Jharkhand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="" xmlns:a16="http://schemas.microsoft.com/office/drawing/2014/main" id="{23B6FC61-AE48-4A61-AAF6-4E1AFD8A1E07}"/>
                </a:ext>
              </a:extLst>
            </p:cNvPr>
            <p:cNvSpPr txBox="1"/>
            <p:nvPr/>
          </p:nvSpPr>
          <p:spPr>
            <a:xfrm>
              <a:off x="9713491" y="2992437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Bihar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="" xmlns:a16="http://schemas.microsoft.com/office/drawing/2014/main" id="{6B810929-DCA4-4732-8F3B-CC1C6E41E1AB}"/>
                </a:ext>
              </a:extLst>
            </p:cNvPr>
            <p:cNvSpPr txBox="1"/>
            <p:nvPr/>
          </p:nvSpPr>
          <p:spPr>
            <a:xfrm>
              <a:off x="8398348" y="4400714"/>
              <a:ext cx="87494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Telangana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="" xmlns:a16="http://schemas.microsoft.com/office/drawing/2014/main" id="{31F37FF5-608D-440C-ABAA-D5F87CF718B4}"/>
                </a:ext>
              </a:extLst>
            </p:cNvPr>
            <p:cNvSpPr txBox="1"/>
            <p:nvPr/>
          </p:nvSpPr>
          <p:spPr>
            <a:xfrm>
              <a:off x="9373140" y="3910491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Odisha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="" xmlns:a16="http://schemas.microsoft.com/office/drawing/2014/main" id="{944907B3-C990-4194-9789-89DF0988B0D9}"/>
                </a:ext>
              </a:extLst>
            </p:cNvPr>
            <p:cNvSpPr txBox="1"/>
            <p:nvPr/>
          </p:nvSpPr>
          <p:spPr>
            <a:xfrm>
              <a:off x="8463539" y="4896584"/>
              <a:ext cx="6919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Andhra Pradesh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="" xmlns:a16="http://schemas.microsoft.com/office/drawing/2014/main" id="{B57BBDA1-48D8-4099-AF6A-DE5BFF3A7520}"/>
                </a:ext>
              </a:extLst>
            </p:cNvPr>
            <p:cNvSpPr txBox="1"/>
            <p:nvPr/>
          </p:nvSpPr>
          <p:spPr>
            <a:xfrm>
              <a:off x="8313807" y="5701589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Tamil Nadu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="" xmlns:a16="http://schemas.microsoft.com/office/drawing/2014/main" id="{926AA896-2348-4E04-9854-63F8C3F9A269}"/>
                </a:ext>
              </a:extLst>
            </p:cNvPr>
            <p:cNvSpPr txBox="1"/>
            <p:nvPr/>
          </p:nvSpPr>
          <p:spPr>
            <a:xfrm>
              <a:off x="8051210" y="3504446"/>
              <a:ext cx="1321930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Madhya Pradesh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="" xmlns:a16="http://schemas.microsoft.com/office/drawing/2014/main" id="{4A7E0A7F-149A-4F13-905A-B10F108611B7}"/>
                </a:ext>
              </a:extLst>
            </p:cNvPr>
            <p:cNvSpPr txBox="1"/>
            <p:nvPr/>
          </p:nvSpPr>
          <p:spPr>
            <a:xfrm>
              <a:off x="9800578" y="5551214"/>
              <a:ext cx="2057968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Andaman &amp; Nicobar Islands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BBFF45A1-6337-4FBE-9800-8F78D2A6A53B}"/>
                </a:ext>
              </a:extLst>
            </p:cNvPr>
            <p:cNvSpPr txBox="1"/>
            <p:nvPr/>
          </p:nvSpPr>
          <p:spPr>
            <a:xfrm>
              <a:off x="6891857" y="5963547"/>
              <a:ext cx="977191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Lakshadweep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="" xmlns:a16="http://schemas.microsoft.com/office/drawing/2014/main" id="{AD833E39-B93D-4B39-A50E-530D4A701FF5}"/>
                </a:ext>
              </a:extLst>
            </p:cNvPr>
            <p:cNvSpPr txBox="1"/>
            <p:nvPr/>
          </p:nvSpPr>
          <p:spPr>
            <a:xfrm>
              <a:off x="7774890" y="5797435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Kerala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="" xmlns:a16="http://schemas.microsoft.com/office/drawing/2014/main" id="{C6920F28-B3F9-44FB-AFB9-DC09666ABD96}"/>
                </a:ext>
              </a:extLst>
            </p:cNvPr>
            <p:cNvSpPr txBox="1"/>
            <p:nvPr/>
          </p:nvSpPr>
          <p:spPr>
            <a:xfrm>
              <a:off x="7674466" y="5164772"/>
              <a:ext cx="75348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Karnataka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997963B7-2FBA-4C0E-AF9D-72B339FCB84A}"/>
                </a:ext>
              </a:extLst>
            </p:cNvPr>
            <p:cNvSpPr txBox="1"/>
            <p:nvPr/>
          </p:nvSpPr>
          <p:spPr>
            <a:xfrm>
              <a:off x="7584662" y="4169163"/>
              <a:ext cx="9967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Maharashtra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="" xmlns:a16="http://schemas.microsoft.com/office/drawing/2014/main" id="{913F541D-7D98-4525-869B-1FB90229BF40}"/>
                </a:ext>
              </a:extLst>
            </p:cNvPr>
            <p:cNvSpPr txBox="1"/>
            <p:nvPr/>
          </p:nvSpPr>
          <p:spPr>
            <a:xfrm>
              <a:off x="7133422" y="3347521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Gujarat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4A7E320-F71A-475A-8B4A-034EF195922C}"/>
                </a:ext>
              </a:extLst>
            </p:cNvPr>
            <p:cNvSpPr txBox="1"/>
            <p:nvPr/>
          </p:nvSpPr>
          <p:spPr>
            <a:xfrm>
              <a:off x="7323832" y="2799531"/>
              <a:ext cx="800345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Rajasthan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="" xmlns:a16="http://schemas.microsoft.com/office/drawing/2014/main" id="{0F5E850F-56F8-4E29-8780-CB4DAF1BCB4A}"/>
                </a:ext>
              </a:extLst>
            </p:cNvPr>
            <p:cNvSpPr txBox="1"/>
            <p:nvPr/>
          </p:nvSpPr>
          <p:spPr>
            <a:xfrm>
              <a:off x="10273295" y="2913180"/>
              <a:ext cx="857473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Meghalaya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="" xmlns:a16="http://schemas.microsoft.com/office/drawing/2014/main" id="{4006C883-DFF6-4898-95CC-2BDA2E8B7421}"/>
                </a:ext>
              </a:extLst>
            </p:cNvPr>
            <p:cNvSpPr txBox="1"/>
            <p:nvPr/>
          </p:nvSpPr>
          <p:spPr>
            <a:xfrm>
              <a:off x="10497254" y="3273896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Tripura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="" xmlns:a16="http://schemas.microsoft.com/office/drawing/2014/main" id="{4D2B76E1-FB8D-4C95-8FED-D289209D7BC7}"/>
                </a:ext>
              </a:extLst>
            </p:cNvPr>
            <p:cNvSpPr txBox="1"/>
            <p:nvPr/>
          </p:nvSpPr>
          <p:spPr>
            <a:xfrm>
              <a:off x="10948156" y="3329429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Mizoram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="" xmlns:a16="http://schemas.microsoft.com/office/drawing/2014/main" id="{D3680F4A-3735-4289-8CDC-C980220FC3E2}"/>
                </a:ext>
              </a:extLst>
            </p:cNvPr>
            <p:cNvSpPr txBox="1"/>
            <p:nvPr/>
          </p:nvSpPr>
          <p:spPr>
            <a:xfrm>
              <a:off x="11104364" y="3044907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Manipur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="" xmlns:a16="http://schemas.microsoft.com/office/drawing/2014/main" id="{89B9244B-4C19-4AE1-BB91-77AC8DDCED45}"/>
                </a:ext>
              </a:extLst>
            </p:cNvPr>
            <p:cNvSpPr txBox="1"/>
            <p:nvPr/>
          </p:nvSpPr>
          <p:spPr>
            <a:xfrm>
              <a:off x="11134164" y="2742795"/>
              <a:ext cx="724382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Nagaland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="" xmlns:a16="http://schemas.microsoft.com/office/drawing/2014/main" id="{0D5536EA-C331-46A2-BF71-02A3D9307D25}"/>
                </a:ext>
              </a:extLst>
            </p:cNvPr>
            <p:cNvSpPr txBox="1"/>
            <p:nvPr/>
          </p:nvSpPr>
          <p:spPr>
            <a:xfrm>
              <a:off x="10614702" y="2248419"/>
              <a:ext cx="1243844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Arunachal Pradesh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="" xmlns:a16="http://schemas.microsoft.com/office/drawing/2014/main" id="{26D4D991-7A54-45CA-93EE-B1A37DECF24C}"/>
                </a:ext>
              </a:extLst>
            </p:cNvPr>
            <p:cNvSpPr txBox="1"/>
            <p:nvPr/>
          </p:nvSpPr>
          <p:spPr>
            <a:xfrm>
              <a:off x="10738585" y="2713589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Assam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="" xmlns:a16="http://schemas.microsoft.com/office/drawing/2014/main" id="{1A5607BD-3906-429D-A7C7-9BAF17B9813D}"/>
                </a:ext>
              </a:extLst>
            </p:cNvPr>
            <p:cNvSpPr txBox="1"/>
            <p:nvPr/>
          </p:nvSpPr>
          <p:spPr>
            <a:xfrm>
              <a:off x="9998935" y="3338925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West Bengal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="" xmlns:a16="http://schemas.microsoft.com/office/drawing/2014/main" id="{AE441021-8E40-4CA1-ABFB-BD7BA190BFC2}"/>
                </a:ext>
              </a:extLst>
            </p:cNvPr>
            <p:cNvSpPr txBox="1"/>
            <p:nvPr/>
          </p:nvSpPr>
          <p:spPr>
            <a:xfrm>
              <a:off x="10124663" y="2521963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Sikkim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="" xmlns:a16="http://schemas.microsoft.com/office/drawing/2014/main" id="{961EA165-E2A9-4DFF-BFCD-39F479691665}"/>
                </a:ext>
              </a:extLst>
            </p:cNvPr>
            <p:cNvSpPr txBox="1"/>
            <p:nvPr/>
          </p:nvSpPr>
          <p:spPr>
            <a:xfrm>
              <a:off x="7967849" y="2245522"/>
              <a:ext cx="69191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Haryana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="" xmlns:a16="http://schemas.microsoft.com/office/drawing/2014/main" id="{09F32267-A083-4EB4-9BD1-CA1DA7D4E75F}"/>
                </a:ext>
              </a:extLst>
            </p:cNvPr>
            <p:cNvSpPr txBox="1"/>
            <p:nvPr/>
          </p:nvSpPr>
          <p:spPr>
            <a:xfrm>
              <a:off x="6947135" y="3960682"/>
              <a:ext cx="8463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Dadra &amp; Nagar Haveli and Daman Diu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="" xmlns:a16="http://schemas.microsoft.com/office/drawing/2014/main" id="{E27E67DA-58D5-466C-AFA9-A13FC0878802}"/>
                </a:ext>
              </a:extLst>
            </p:cNvPr>
            <p:cNvSpPr txBox="1"/>
            <p:nvPr/>
          </p:nvSpPr>
          <p:spPr>
            <a:xfrm>
              <a:off x="8954089" y="1954223"/>
              <a:ext cx="846489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Chandigarh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="" xmlns:a16="http://schemas.microsoft.com/office/drawing/2014/main" id="{BF08F161-3F13-4447-BE28-0171AAF5F7CB}"/>
                </a:ext>
              </a:extLst>
            </p:cNvPr>
            <p:cNvSpPr txBox="1"/>
            <p:nvPr/>
          </p:nvSpPr>
          <p:spPr>
            <a:xfrm>
              <a:off x="9088059" y="2366085"/>
              <a:ext cx="1036603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600" dirty="0">
                  <a:latin typeface="Cambria" panose="02040503050406030204" pitchFamily="18" charset="0"/>
                  <a:ea typeface="Cambria" panose="02040503050406030204" pitchFamily="18" charset="0"/>
                </a:rPr>
                <a:t>NCT of Delhi</a:t>
              </a:r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="" xmlns:a16="http://schemas.microsoft.com/office/drawing/2014/main" id="{068C5A93-48C3-499A-9F6C-74F8EA537BBD}"/>
                </a:ext>
              </a:extLst>
            </p:cNvPr>
            <p:cNvCxnSpPr>
              <a:stCxn id="106" idx="1"/>
            </p:cNvCxnSpPr>
            <p:nvPr/>
          </p:nvCxnSpPr>
          <p:spPr>
            <a:xfrm flipH="1">
              <a:off x="8480535" y="2458418"/>
              <a:ext cx="607524" cy="60386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="" xmlns:a16="http://schemas.microsoft.com/office/drawing/2014/main" id="{8F862A8D-46F1-4E3E-91A2-3EE197F2A3D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98348" y="2079545"/>
              <a:ext cx="555742" cy="55015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09" name="Rectangle 108">
              <a:extLst>
                <a:ext uri="{FF2B5EF4-FFF2-40B4-BE49-F238E27FC236}">
                  <a16:creationId xmlns="" xmlns:a16="http://schemas.microsoft.com/office/drawing/2014/main" id="{BE4524AD-4EF8-445F-94A3-6E1F8731DB5F}"/>
                </a:ext>
              </a:extLst>
            </p:cNvPr>
            <p:cNvSpPr/>
            <p:nvPr/>
          </p:nvSpPr>
          <p:spPr>
            <a:xfrm>
              <a:off x="9477929" y="1166506"/>
              <a:ext cx="152399" cy="169886"/>
            </a:xfrm>
            <a:prstGeom prst="rect">
              <a:avLst/>
            </a:prstGeom>
            <a:solidFill>
              <a:srgbClr val="FF99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="" xmlns:a16="http://schemas.microsoft.com/office/drawing/2014/main" id="{A089EB71-C64F-4AFE-8D7E-A85802496CCF}"/>
                </a:ext>
              </a:extLst>
            </p:cNvPr>
            <p:cNvSpPr/>
            <p:nvPr/>
          </p:nvSpPr>
          <p:spPr>
            <a:xfrm>
              <a:off x="9493671" y="1448106"/>
              <a:ext cx="152399" cy="169886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="" xmlns:a16="http://schemas.microsoft.com/office/drawing/2014/main" id="{C0B3B1E9-A0A6-45BC-B843-270B6B8296C7}"/>
                </a:ext>
              </a:extLst>
            </p:cNvPr>
            <p:cNvSpPr/>
            <p:nvPr/>
          </p:nvSpPr>
          <p:spPr>
            <a:xfrm>
              <a:off x="9493671" y="1773720"/>
              <a:ext cx="152399" cy="169886"/>
            </a:xfrm>
            <a:prstGeom prst="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100"/>
            </a:p>
          </p:txBody>
        </p:sp>
        <p:sp>
          <p:nvSpPr>
            <p:cNvPr id="112" name="TextBox 111">
              <a:extLst>
                <a:ext uri="{FF2B5EF4-FFF2-40B4-BE49-F238E27FC236}">
                  <a16:creationId xmlns="" xmlns:a16="http://schemas.microsoft.com/office/drawing/2014/main" id="{92B54F99-32AB-4967-A8E8-04DA09A94C38}"/>
                </a:ext>
              </a:extLst>
            </p:cNvPr>
            <p:cNvSpPr txBox="1"/>
            <p:nvPr/>
          </p:nvSpPr>
          <p:spPr>
            <a:xfrm>
              <a:off x="9598841" y="1096929"/>
              <a:ext cx="184173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/>
                <a:t>Rules notified under RERA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="" xmlns:a16="http://schemas.microsoft.com/office/drawing/2014/main" id="{BD5B45B2-EDB7-48A3-A2D2-EA11B3ABEFC5}"/>
                </a:ext>
              </a:extLst>
            </p:cNvPr>
            <p:cNvSpPr txBox="1"/>
            <p:nvPr/>
          </p:nvSpPr>
          <p:spPr>
            <a:xfrm>
              <a:off x="9595404" y="1344711"/>
              <a:ext cx="231036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000" dirty="0"/>
                <a:t>Rules Notification- under progress</a:t>
              </a:r>
              <a:endParaRPr lang="en-IN" sz="600" dirty="0"/>
            </a:p>
          </p:txBody>
        </p:sp>
        <p:sp>
          <p:nvSpPr>
            <p:cNvPr id="114" name="TextBox 113">
              <a:extLst>
                <a:ext uri="{FF2B5EF4-FFF2-40B4-BE49-F238E27FC236}">
                  <a16:creationId xmlns="" xmlns:a16="http://schemas.microsoft.com/office/drawing/2014/main" id="{DC38761D-1E97-4E90-AA8B-243CC10D89E6}"/>
                </a:ext>
              </a:extLst>
            </p:cNvPr>
            <p:cNvSpPr txBox="1"/>
            <p:nvPr/>
          </p:nvSpPr>
          <p:spPr>
            <a:xfrm>
              <a:off x="9612050" y="1675876"/>
              <a:ext cx="18417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IN" sz="1000" dirty="0">
                  <a:effectLst/>
                  <a:ea typeface="Times New Roman" panose="02020603050405020304" pitchFamily="18" charset="0"/>
                </a:rPr>
                <a:t>WBHIRA struck down &amp; RERA to be implemented</a:t>
              </a:r>
              <a:endParaRPr lang="en-IN" sz="10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512343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043451" y="218608"/>
            <a:ext cx="5936776" cy="45243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IN" sz="1800" dirty="0" smtClean="0"/>
              <a:t>Tenancy Laws- State Subject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US" sz="800" dirty="0" smtClean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GB" sz="1800" dirty="0" smtClean="0"/>
              <a:t>Archaic Tenancy Laws- Paradoxical situation- need for reforms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GB" sz="800" dirty="0" smtClean="0"/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GB" sz="400" dirty="0" smtClean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US" sz="1800" dirty="0" smtClean="0"/>
              <a:t>IMF </a:t>
            </a:r>
            <a:r>
              <a:rPr lang="en-IN" sz="1800" dirty="0" smtClean="0"/>
              <a:t>estimates India’s residential rental market </a:t>
            </a:r>
            <a:r>
              <a:rPr lang="en-IN" sz="1800" b="1" dirty="0" smtClean="0"/>
              <a:t>~ $20 billion (~ ₹ 1.50 </a:t>
            </a:r>
            <a:r>
              <a:rPr lang="en-IN" sz="1800" b="1" dirty="0" err="1" smtClean="0"/>
              <a:t>lakh</a:t>
            </a:r>
            <a:r>
              <a:rPr lang="en-IN" sz="1800" b="1" dirty="0" smtClean="0"/>
              <a:t> </a:t>
            </a:r>
            <a:r>
              <a:rPr lang="en-IN" sz="1800" b="1" dirty="0" err="1" smtClean="0"/>
              <a:t>crore</a:t>
            </a:r>
            <a:r>
              <a:rPr lang="en-IN" sz="1800" b="1" dirty="0" smtClean="0"/>
              <a:t>)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IN" sz="1000" b="1" dirty="0" smtClean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GB" sz="1800" dirty="0" smtClean="0"/>
              <a:t>MTA prepared by MoHUA in consultation with States/UTs</a:t>
            </a:r>
            <a:endParaRPr lang="en-GB" sz="100" dirty="0" smtClean="0"/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GB" sz="1050" dirty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GB" sz="1800" dirty="0" smtClean="0"/>
              <a:t>Approved by Union Cabinet- 2</a:t>
            </a:r>
            <a:r>
              <a:rPr lang="en-GB" sz="1800" baseline="30000" dirty="0" smtClean="0"/>
              <a:t>nd</a:t>
            </a:r>
            <a:r>
              <a:rPr lang="en-GB" sz="1800" dirty="0" smtClean="0"/>
              <a:t> June 2021 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GB" sz="900" dirty="0" smtClean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GB" sz="1800" dirty="0" smtClean="0"/>
              <a:t>Circulated to States/ UTs for adoption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GB" sz="1800" dirty="0" smtClean="0"/>
              <a:t>Envisages to balance interests &amp; rights of</a:t>
            </a:r>
            <a:r>
              <a:rPr lang="en-GB" sz="1800" dirty="0"/>
              <a:t> tenant </a:t>
            </a:r>
            <a:r>
              <a:rPr lang="en-GB" sz="1800" dirty="0" smtClean="0"/>
              <a:t> and landlord in accountable &amp; transparent manner 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GB" sz="1800" dirty="0" smtClean="0"/>
              <a:t>Aims to create vibrant &amp; sustainable rental housing market and facilitate to unlock vacant houses for rental purpose</a:t>
            </a:r>
          </a:p>
        </p:txBody>
      </p:sp>
      <p:grpSp>
        <p:nvGrpSpPr>
          <p:cNvPr id="2" name="Group 32"/>
          <p:cNvGrpSpPr/>
          <p:nvPr/>
        </p:nvGrpSpPr>
        <p:grpSpPr>
          <a:xfrm>
            <a:off x="552303" y="2283127"/>
            <a:ext cx="1958885" cy="1736612"/>
            <a:chOff x="375295" y="780802"/>
            <a:chExt cx="3789299" cy="3108196"/>
          </a:xfrm>
        </p:grpSpPr>
        <p:grpSp>
          <p:nvGrpSpPr>
            <p:cNvPr id="3" name="Group 26"/>
            <p:cNvGrpSpPr/>
            <p:nvPr/>
          </p:nvGrpSpPr>
          <p:grpSpPr>
            <a:xfrm>
              <a:off x="643176" y="780802"/>
              <a:ext cx="3352942" cy="3108196"/>
              <a:chOff x="3408944" y="1897549"/>
              <a:chExt cx="911174" cy="829000"/>
            </a:xfrm>
            <a:solidFill>
              <a:schemeClr val="bg1">
                <a:lumMod val="95000"/>
              </a:schemeClr>
            </a:solidFill>
          </p:grpSpPr>
          <p:sp>
            <p:nvSpPr>
              <p:cNvPr id="28" name="Freeform 45">
                <a:extLst>
                  <a:ext uri="{FF2B5EF4-FFF2-40B4-BE49-F238E27FC236}">
                    <a16:creationId xmlns="" xmlns:a16="http://schemas.microsoft.com/office/drawing/2014/main" id="{C377C8DB-1179-4D5A-AD99-B4F725003688}"/>
                  </a:ext>
                </a:extLst>
              </p:cNvPr>
              <p:cNvSpPr/>
              <p:nvPr/>
            </p:nvSpPr>
            <p:spPr>
              <a:xfrm>
                <a:off x="3796932" y="2233356"/>
                <a:ext cx="349781" cy="484822"/>
              </a:xfrm>
              <a:custGeom>
                <a:avLst/>
                <a:gdLst>
                  <a:gd name="connsiteX0" fmla="*/ 393242 w 427778"/>
                  <a:gd name="connsiteY0" fmla="*/ 10975 h 627121"/>
                  <a:gd name="connsiteX1" fmla="*/ 414058 w 427778"/>
                  <a:gd name="connsiteY1" fmla="*/ 13716 h 627121"/>
                  <a:gd name="connsiteX2" fmla="*/ 424099 w 427778"/>
                  <a:gd name="connsiteY2" fmla="*/ 51188 h 627121"/>
                  <a:gd name="connsiteX3" fmla="*/ 307515 w 427778"/>
                  <a:gd name="connsiteY3" fmla="*/ 253118 h 627121"/>
                  <a:gd name="connsiteX4" fmla="*/ 297393 w 427778"/>
                  <a:gd name="connsiteY4" fmla="*/ 260885 h 627121"/>
                  <a:gd name="connsiteX5" fmla="*/ 297393 w 427778"/>
                  <a:gd name="connsiteY5" fmla="*/ 320515 h 627121"/>
                  <a:gd name="connsiteX6" fmla="*/ 297393 w 427778"/>
                  <a:gd name="connsiteY6" fmla="*/ 321623 h 627121"/>
                  <a:gd name="connsiteX7" fmla="*/ 297393 w 427778"/>
                  <a:gd name="connsiteY7" fmla="*/ 413010 h 627121"/>
                  <a:gd name="connsiteX8" fmla="*/ 297393 w 427778"/>
                  <a:gd name="connsiteY8" fmla="*/ 511899 h 627121"/>
                  <a:gd name="connsiteX9" fmla="*/ 297393 w 427778"/>
                  <a:gd name="connsiteY9" fmla="*/ 514969 h 627121"/>
                  <a:gd name="connsiteX10" fmla="*/ 297393 w 427778"/>
                  <a:gd name="connsiteY10" fmla="*/ 581802 h 627121"/>
                  <a:gd name="connsiteX11" fmla="*/ 260419 w 427778"/>
                  <a:gd name="connsiteY11" fmla="*/ 627121 h 627121"/>
                  <a:gd name="connsiteX12" fmla="*/ 223446 w 427778"/>
                  <a:gd name="connsiteY12" fmla="*/ 581802 h 627121"/>
                  <a:gd name="connsiteX13" fmla="*/ 223446 w 427778"/>
                  <a:gd name="connsiteY13" fmla="*/ 514969 h 627121"/>
                  <a:gd name="connsiteX14" fmla="*/ 223446 w 427778"/>
                  <a:gd name="connsiteY14" fmla="*/ 511899 h 627121"/>
                  <a:gd name="connsiteX15" fmla="*/ 223446 w 427778"/>
                  <a:gd name="connsiteY15" fmla="*/ 413010 h 627121"/>
                  <a:gd name="connsiteX16" fmla="*/ 204331 w 427778"/>
                  <a:gd name="connsiteY16" fmla="*/ 413010 h 627121"/>
                  <a:gd name="connsiteX17" fmla="*/ 204331 w 427778"/>
                  <a:gd name="connsiteY17" fmla="*/ 511899 h 627121"/>
                  <a:gd name="connsiteX18" fmla="*/ 204331 w 427778"/>
                  <a:gd name="connsiteY18" fmla="*/ 514969 h 627121"/>
                  <a:gd name="connsiteX19" fmla="*/ 204331 w 427778"/>
                  <a:gd name="connsiteY19" fmla="*/ 581802 h 627121"/>
                  <a:gd name="connsiteX20" fmla="*/ 167358 w 427778"/>
                  <a:gd name="connsiteY20" fmla="*/ 627121 h 627121"/>
                  <a:gd name="connsiteX21" fmla="*/ 130384 w 427778"/>
                  <a:gd name="connsiteY21" fmla="*/ 581802 h 627121"/>
                  <a:gd name="connsiteX22" fmla="*/ 130384 w 427778"/>
                  <a:gd name="connsiteY22" fmla="*/ 514969 h 627121"/>
                  <a:gd name="connsiteX23" fmla="*/ 130384 w 427778"/>
                  <a:gd name="connsiteY23" fmla="*/ 511899 h 627121"/>
                  <a:gd name="connsiteX24" fmla="*/ 130384 w 427778"/>
                  <a:gd name="connsiteY24" fmla="*/ 413010 h 627121"/>
                  <a:gd name="connsiteX25" fmla="*/ 130384 w 427778"/>
                  <a:gd name="connsiteY25" fmla="*/ 321623 h 627121"/>
                  <a:gd name="connsiteX26" fmla="*/ 130384 w 427778"/>
                  <a:gd name="connsiteY26" fmla="*/ 320515 h 627121"/>
                  <a:gd name="connsiteX27" fmla="*/ 130384 w 427778"/>
                  <a:gd name="connsiteY27" fmla="*/ 288583 h 627121"/>
                  <a:gd name="connsiteX28" fmla="*/ 130384 w 427778"/>
                  <a:gd name="connsiteY28" fmla="*/ 260884 h 627121"/>
                  <a:gd name="connsiteX29" fmla="*/ 120263 w 427778"/>
                  <a:gd name="connsiteY29" fmla="*/ 253118 h 627121"/>
                  <a:gd name="connsiteX30" fmla="*/ 3679 w 427778"/>
                  <a:gd name="connsiteY30" fmla="*/ 51188 h 627121"/>
                  <a:gd name="connsiteX31" fmla="*/ 13720 w 427778"/>
                  <a:gd name="connsiteY31" fmla="*/ 13716 h 627121"/>
                  <a:gd name="connsiteX32" fmla="*/ 34536 w 427778"/>
                  <a:gd name="connsiteY32" fmla="*/ 10975 h 627121"/>
                  <a:gd name="connsiteX33" fmla="*/ 51193 w 427778"/>
                  <a:gd name="connsiteY33" fmla="*/ 23756 h 627121"/>
                  <a:gd name="connsiteX34" fmla="*/ 142056 w 427778"/>
                  <a:gd name="connsiteY34" fmla="*/ 181135 h 627121"/>
                  <a:gd name="connsiteX35" fmla="*/ 285722 w 427778"/>
                  <a:gd name="connsiteY35" fmla="*/ 181135 h 627121"/>
                  <a:gd name="connsiteX36" fmla="*/ 376585 w 427778"/>
                  <a:gd name="connsiteY36" fmla="*/ 23756 h 627121"/>
                  <a:gd name="connsiteX37" fmla="*/ 393242 w 427778"/>
                  <a:gd name="connsiteY37" fmla="*/ 10975 h 627121"/>
                  <a:gd name="connsiteX38" fmla="*/ 213888 w 427778"/>
                  <a:gd name="connsiteY38" fmla="*/ 0 h 627121"/>
                  <a:gd name="connsiteX39" fmla="*/ 296184 w 427778"/>
                  <a:gd name="connsiteY39" fmla="*/ 82296 h 627121"/>
                  <a:gd name="connsiteX40" fmla="*/ 213888 w 427778"/>
                  <a:gd name="connsiteY40" fmla="*/ 164592 h 627121"/>
                  <a:gd name="connsiteX41" fmla="*/ 131592 w 427778"/>
                  <a:gd name="connsiteY41" fmla="*/ 82296 h 627121"/>
                  <a:gd name="connsiteX42" fmla="*/ 213888 w 427778"/>
                  <a:gd name="connsiteY42" fmla="*/ 0 h 627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27778" h="627121">
                    <a:moveTo>
                      <a:pt x="393242" y="10975"/>
                    </a:moveTo>
                    <a:cubicBezTo>
                      <a:pt x="400024" y="9158"/>
                      <a:pt x="407498" y="9928"/>
                      <a:pt x="414058" y="13716"/>
                    </a:cubicBezTo>
                    <a:cubicBezTo>
                      <a:pt x="427178" y="21291"/>
                      <a:pt x="431674" y="38068"/>
                      <a:pt x="424099" y="51188"/>
                    </a:cubicBezTo>
                    <a:lnTo>
                      <a:pt x="307515" y="253118"/>
                    </a:lnTo>
                    <a:lnTo>
                      <a:pt x="297393" y="260885"/>
                    </a:lnTo>
                    <a:lnTo>
                      <a:pt x="297393" y="320515"/>
                    </a:lnTo>
                    <a:lnTo>
                      <a:pt x="297393" y="321623"/>
                    </a:lnTo>
                    <a:lnTo>
                      <a:pt x="297393" y="413010"/>
                    </a:lnTo>
                    <a:lnTo>
                      <a:pt x="297393" y="511899"/>
                    </a:lnTo>
                    <a:lnTo>
                      <a:pt x="297393" y="514969"/>
                    </a:lnTo>
                    <a:lnTo>
                      <a:pt x="297393" y="581802"/>
                    </a:lnTo>
                    <a:cubicBezTo>
                      <a:pt x="297393" y="606831"/>
                      <a:pt x="280840" y="627121"/>
                      <a:pt x="260419" y="627121"/>
                    </a:cubicBezTo>
                    <a:cubicBezTo>
                      <a:pt x="239999" y="627121"/>
                      <a:pt x="223446" y="606831"/>
                      <a:pt x="223446" y="581802"/>
                    </a:cubicBezTo>
                    <a:lnTo>
                      <a:pt x="223446" y="514969"/>
                    </a:lnTo>
                    <a:lnTo>
                      <a:pt x="223446" y="511899"/>
                    </a:lnTo>
                    <a:lnTo>
                      <a:pt x="223446" y="413010"/>
                    </a:lnTo>
                    <a:lnTo>
                      <a:pt x="204331" y="413010"/>
                    </a:lnTo>
                    <a:lnTo>
                      <a:pt x="204331" y="511899"/>
                    </a:lnTo>
                    <a:lnTo>
                      <a:pt x="204331" y="514969"/>
                    </a:lnTo>
                    <a:lnTo>
                      <a:pt x="204331" y="581802"/>
                    </a:lnTo>
                    <a:cubicBezTo>
                      <a:pt x="204331" y="606831"/>
                      <a:pt x="187778" y="627121"/>
                      <a:pt x="167358" y="627121"/>
                    </a:cubicBezTo>
                    <a:cubicBezTo>
                      <a:pt x="146938" y="627121"/>
                      <a:pt x="130384" y="606831"/>
                      <a:pt x="130384" y="581802"/>
                    </a:cubicBezTo>
                    <a:lnTo>
                      <a:pt x="130384" y="514969"/>
                    </a:lnTo>
                    <a:lnTo>
                      <a:pt x="130384" y="511899"/>
                    </a:lnTo>
                    <a:lnTo>
                      <a:pt x="130384" y="413010"/>
                    </a:lnTo>
                    <a:lnTo>
                      <a:pt x="130384" y="321623"/>
                    </a:lnTo>
                    <a:lnTo>
                      <a:pt x="130384" y="320515"/>
                    </a:lnTo>
                    <a:lnTo>
                      <a:pt x="130384" y="288583"/>
                    </a:lnTo>
                    <a:lnTo>
                      <a:pt x="130384" y="260884"/>
                    </a:lnTo>
                    <a:lnTo>
                      <a:pt x="120263" y="253118"/>
                    </a:lnTo>
                    <a:lnTo>
                      <a:pt x="3679" y="51188"/>
                    </a:lnTo>
                    <a:cubicBezTo>
                      <a:pt x="-3896" y="38068"/>
                      <a:pt x="600" y="21291"/>
                      <a:pt x="13720" y="13716"/>
                    </a:cubicBezTo>
                    <a:cubicBezTo>
                      <a:pt x="20280" y="9928"/>
                      <a:pt x="27755" y="9158"/>
                      <a:pt x="34536" y="10975"/>
                    </a:cubicBezTo>
                    <a:cubicBezTo>
                      <a:pt x="41317" y="12792"/>
                      <a:pt x="47406" y="17196"/>
                      <a:pt x="51193" y="23756"/>
                    </a:cubicBezTo>
                    <a:lnTo>
                      <a:pt x="142056" y="181135"/>
                    </a:lnTo>
                    <a:lnTo>
                      <a:pt x="285722" y="181135"/>
                    </a:lnTo>
                    <a:lnTo>
                      <a:pt x="376585" y="23756"/>
                    </a:lnTo>
                    <a:cubicBezTo>
                      <a:pt x="380373" y="17196"/>
                      <a:pt x="386461" y="12792"/>
                      <a:pt x="393242" y="10975"/>
                    </a:cubicBezTo>
                    <a:close/>
                    <a:moveTo>
                      <a:pt x="213888" y="0"/>
                    </a:moveTo>
                    <a:cubicBezTo>
                      <a:pt x="259339" y="0"/>
                      <a:pt x="296184" y="36845"/>
                      <a:pt x="296184" y="82296"/>
                    </a:cubicBezTo>
                    <a:cubicBezTo>
                      <a:pt x="296184" y="127747"/>
                      <a:pt x="259339" y="164592"/>
                      <a:pt x="213888" y="164592"/>
                    </a:cubicBezTo>
                    <a:cubicBezTo>
                      <a:pt x="168438" y="164592"/>
                      <a:pt x="131592" y="127747"/>
                      <a:pt x="131592" y="82296"/>
                    </a:cubicBezTo>
                    <a:cubicBezTo>
                      <a:pt x="131592" y="36845"/>
                      <a:pt x="168438" y="0"/>
                      <a:pt x="213888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800" kern="0" dirty="0">
                  <a:solidFill>
                    <a:prstClr val="black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29" name="Freeform 42">
                <a:extLst>
                  <a:ext uri="{FF2B5EF4-FFF2-40B4-BE49-F238E27FC236}">
                    <a16:creationId xmlns="" xmlns:a16="http://schemas.microsoft.com/office/drawing/2014/main" id="{60FEF0BF-5FCB-4ABD-ACC3-5B5D6BF1B671}"/>
                  </a:ext>
                </a:extLst>
              </p:cNvPr>
              <p:cNvSpPr/>
              <p:nvPr/>
            </p:nvSpPr>
            <p:spPr>
              <a:xfrm>
                <a:off x="3565045" y="1897549"/>
                <a:ext cx="353800" cy="820770"/>
              </a:xfrm>
              <a:custGeom>
                <a:avLst/>
                <a:gdLst>
                  <a:gd name="connsiteX0" fmla="*/ 85839 w 512808"/>
                  <a:gd name="connsiteY0" fmla="*/ 264542 h 1291595"/>
                  <a:gd name="connsiteX1" fmla="*/ 91440 w 512808"/>
                  <a:gd name="connsiteY1" fmla="*/ 264542 h 1291595"/>
                  <a:gd name="connsiteX2" fmla="*/ 122168 w 512808"/>
                  <a:gd name="connsiteY2" fmla="*/ 264542 h 1291595"/>
                  <a:gd name="connsiteX3" fmla="*/ 390640 w 512808"/>
                  <a:gd name="connsiteY3" fmla="*/ 264542 h 1291595"/>
                  <a:gd name="connsiteX4" fmla="*/ 421368 w 512808"/>
                  <a:gd name="connsiteY4" fmla="*/ 264542 h 1291595"/>
                  <a:gd name="connsiteX5" fmla="*/ 426969 w 512808"/>
                  <a:gd name="connsiteY5" fmla="*/ 264542 h 1291595"/>
                  <a:gd name="connsiteX6" fmla="*/ 512808 w 512808"/>
                  <a:gd name="connsiteY6" fmla="*/ 350381 h 1291595"/>
                  <a:gd name="connsiteX7" fmla="*/ 512808 w 512808"/>
                  <a:gd name="connsiteY7" fmla="*/ 722878 h 1291595"/>
                  <a:gd name="connsiteX8" fmla="*/ 467088 w 512808"/>
                  <a:gd name="connsiteY8" fmla="*/ 768598 h 1291595"/>
                  <a:gd name="connsiteX9" fmla="*/ 424961 w 512808"/>
                  <a:gd name="connsiteY9" fmla="*/ 740674 h 1291595"/>
                  <a:gd name="connsiteX10" fmla="*/ 424105 w 512808"/>
                  <a:gd name="connsiteY10" fmla="*/ 736435 h 1291595"/>
                  <a:gd name="connsiteX11" fmla="*/ 424292 w 512808"/>
                  <a:gd name="connsiteY11" fmla="*/ 735984 h 1291595"/>
                  <a:gd name="connsiteX12" fmla="*/ 424292 w 512808"/>
                  <a:gd name="connsiteY12" fmla="*/ 412520 h 1291595"/>
                  <a:gd name="connsiteX13" fmla="*/ 406004 w 512808"/>
                  <a:gd name="connsiteY13" fmla="*/ 394232 h 1291595"/>
                  <a:gd name="connsiteX14" fmla="*/ 393073 w 512808"/>
                  <a:gd name="connsiteY14" fmla="*/ 399589 h 1291595"/>
                  <a:gd name="connsiteX15" fmla="*/ 390640 w 512808"/>
                  <a:gd name="connsiteY15" fmla="*/ 405461 h 1291595"/>
                  <a:gd name="connsiteX16" fmla="*/ 390640 w 512808"/>
                  <a:gd name="connsiteY16" fmla="*/ 630951 h 1291595"/>
                  <a:gd name="connsiteX17" fmla="*/ 390640 w 512808"/>
                  <a:gd name="connsiteY17" fmla="*/ 768598 h 1291595"/>
                  <a:gd name="connsiteX18" fmla="*/ 390640 w 512808"/>
                  <a:gd name="connsiteY18" fmla="*/ 1232159 h 1291595"/>
                  <a:gd name="connsiteX19" fmla="*/ 331204 w 512808"/>
                  <a:gd name="connsiteY19" fmla="*/ 1291595 h 1291595"/>
                  <a:gd name="connsiteX20" fmla="*/ 271768 w 512808"/>
                  <a:gd name="connsiteY20" fmla="*/ 1232159 h 1291595"/>
                  <a:gd name="connsiteX21" fmla="*/ 271768 w 512808"/>
                  <a:gd name="connsiteY21" fmla="*/ 768598 h 1291595"/>
                  <a:gd name="connsiteX22" fmla="*/ 241040 w 512808"/>
                  <a:gd name="connsiteY22" fmla="*/ 768598 h 1291595"/>
                  <a:gd name="connsiteX23" fmla="*/ 241040 w 512808"/>
                  <a:gd name="connsiteY23" fmla="*/ 1232159 h 1291595"/>
                  <a:gd name="connsiteX24" fmla="*/ 181604 w 512808"/>
                  <a:gd name="connsiteY24" fmla="*/ 1291595 h 1291595"/>
                  <a:gd name="connsiteX25" fmla="*/ 122168 w 512808"/>
                  <a:gd name="connsiteY25" fmla="*/ 1232159 h 1291595"/>
                  <a:gd name="connsiteX26" fmla="*/ 122168 w 512808"/>
                  <a:gd name="connsiteY26" fmla="*/ 768598 h 1291595"/>
                  <a:gd name="connsiteX27" fmla="*/ 122168 w 512808"/>
                  <a:gd name="connsiteY27" fmla="*/ 630951 h 1291595"/>
                  <a:gd name="connsiteX28" fmla="*/ 122168 w 512808"/>
                  <a:gd name="connsiteY28" fmla="*/ 405460 h 1291595"/>
                  <a:gd name="connsiteX29" fmla="*/ 119736 w 512808"/>
                  <a:gd name="connsiteY29" fmla="*/ 399589 h 1291595"/>
                  <a:gd name="connsiteX30" fmla="*/ 106804 w 512808"/>
                  <a:gd name="connsiteY30" fmla="*/ 394232 h 1291595"/>
                  <a:gd name="connsiteX31" fmla="*/ 88516 w 512808"/>
                  <a:gd name="connsiteY31" fmla="*/ 412520 h 1291595"/>
                  <a:gd name="connsiteX32" fmla="*/ 88516 w 512808"/>
                  <a:gd name="connsiteY32" fmla="*/ 735984 h 1291595"/>
                  <a:gd name="connsiteX33" fmla="*/ 88703 w 512808"/>
                  <a:gd name="connsiteY33" fmla="*/ 736435 h 1291595"/>
                  <a:gd name="connsiteX34" fmla="*/ 87847 w 512808"/>
                  <a:gd name="connsiteY34" fmla="*/ 740674 h 1291595"/>
                  <a:gd name="connsiteX35" fmla="*/ 45720 w 512808"/>
                  <a:gd name="connsiteY35" fmla="*/ 768598 h 1291595"/>
                  <a:gd name="connsiteX36" fmla="*/ 0 w 512808"/>
                  <a:gd name="connsiteY36" fmla="*/ 722878 h 1291595"/>
                  <a:gd name="connsiteX37" fmla="*/ 0 w 512808"/>
                  <a:gd name="connsiteY37" fmla="*/ 350381 h 1291595"/>
                  <a:gd name="connsiteX38" fmla="*/ 85839 w 512808"/>
                  <a:gd name="connsiteY38" fmla="*/ 264542 h 1291595"/>
                  <a:gd name="connsiteX39" fmla="*/ 251550 w 512808"/>
                  <a:gd name="connsiteY39" fmla="*/ 0 h 1291595"/>
                  <a:gd name="connsiteX40" fmla="*/ 374038 w 512808"/>
                  <a:gd name="connsiteY40" fmla="*/ 122488 h 1291595"/>
                  <a:gd name="connsiteX41" fmla="*/ 251550 w 512808"/>
                  <a:gd name="connsiteY41" fmla="*/ 244976 h 1291595"/>
                  <a:gd name="connsiteX42" fmla="*/ 129062 w 512808"/>
                  <a:gd name="connsiteY42" fmla="*/ 122488 h 1291595"/>
                  <a:gd name="connsiteX43" fmla="*/ 251550 w 512808"/>
                  <a:gd name="connsiteY43" fmla="*/ 0 h 1291595"/>
                  <a:gd name="connsiteX0" fmla="*/ 85839 w 512808"/>
                  <a:gd name="connsiteY0" fmla="*/ 264542 h 1291595"/>
                  <a:gd name="connsiteX1" fmla="*/ 91440 w 512808"/>
                  <a:gd name="connsiteY1" fmla="*/ 264542 h 1291595"/>
                  <a:gd name="connsiteX2" fmla="*/ 122168 w 512808"/>
                  <a:gd name="connsiteY2" fmla="*/ 264542 h 1291595"/>
                  <a:gd name="connsiteX3" fmla="*/ 390640 w 512808"/>
                  <a:gd name="connsiteY3" fmla="*/ 264542 h 1291595"/>
                  <a:gd name="connsiteX4" fmla="*/ 421368 w 512808"/>
                  <a:gd name="connsiteY4" fmla="*/ 264542 h 1291595"/>
                  <a:gd name="connsiteX5" fmla="*/ 426969 w 512808"/>
                  <a:gd name="connsiteY5" fmla="*/ 264542 h 1291595"/>
                  <a:gd name="connsiteX6" fmla="*/ 512808 w 512808"/>
                  <a:gd name="connsiteY6" fmla="*/ 350381 h 1291595"/>
                  <a:gd name="connsiteX7" fmla="*/ 512808 w 512808"/>
                  <a:gd name="connsiteY7" fmla="*/ 722878 h 1291595"/>
                  <a:gd name="connsiteX8" fmla="*/ 467088 w 512808"/>
                  <a:gd name="connsiteY8" fmla="*/ 768598 h 1291595"/>
                  <a:gd name="connsiteX9" fmla="*/ 424961 w 512808"/>
                  <a:gd name="connsiteY9" fmla="*/ 740674 h 1291595"/>
                  <a:gd name="connsiteX10" fmla="*/ 424105 w 512808"/>
                  <a:gd name="connsiteY10" fmla="*/ 736435 h 1291595"/>
                  <a:gd name="connsiteX11" fmla="*/ 424292 w 512808"/>
                  <a:gd name="connsiteY11" fmla="*/ 735984 h 1291595"/>
                  <a:gd name="connsiteX12" fmla="*/ 424292 w 512808"/>
                  <a:gd name="connsiteY12" fmla="*/ 412520 h 1291595"/>
                  <a:gd name="connsiteX13" fmla="*/ 406004 w 512808"/>
                  <a:gd name="connsiteY13" fmla="*/ 394232 h 1291595"/>
                  <a:gd name="connsiteX14" fmla="*/ 393073 w 512808"/>
                  <a:gd name="connsiteY14" fmla="*/ 399589 h 1291595"/>
                  <a:gd name="connsiteX15" fmla="*/ 390640 w 512808"/>
                  <a:gd name="connsiteY15" fmla="*/ 405461 h 1291595"/>
                  <a:gd name="connsiteX16" fmla="*/ 390640 w 512808"/>
                  <a:gd name="connsiteY16" fmla="*/ 630951 h 1291595"/>
                  <a:gd name="connsiteX17" fmla="*/ 390640 w 512808"/>
                  <a:gd name="connsiteY17" fmla="*/ 768598 h 1291595"/>
                  <a:gd name="connsiteX18" fmla="*/ 390640 w 512808"/>
                  <a:gd name="connsiteY18" fmla="*/ 1232159 h 1291595"/>
                  <a:gd name="connsiteX19" fmla="*/ 331204 w 512808"/>
                  <a:gd name="connsiteY19" fmla="*/ 1291595 h 1291595"/>
                  <a:gd name="connsiteX20" fmla="*/ 271768 w 512808"/>
                  <a:gd name="connsiteY20" fmla="*/ 1232159 h 1291595"/>
                  <a:gd name="connsiteX21" fmla="*/ 271768 w 512808"/>
                  <a:gd name="connsiteY21" fmla="*/ 768598 h 1291595"/>
                  <a:gd name="connsiteX22" fmla="*/ 241040 w 512808"/>
                  <a:gd name="connsiteY22" fmla="*/ 768598 h 1291595"/>
                  <a:gd name="connsiteX23" fmla="*/ 241040 w 512808"/>
                  <a:gd name="connsiteY23" fmla="*/ 1232159 h 1291595"/>
                  <a:gd name="connsiteX24" fmla="*/ 181604 w 512808"/>
                  <a:gd name="connsiteY24" fmla="*/ 1291595 h 1291595"/>
                  <a:gd name="connsiteX25" fmla="*/ 122168 w 512808"/>
                  <a:gd name="connsiteY25" fmla="*/ 1232159 h 1291595"/>
                  <a:gd name="connsiteX26" fmla="*/ 122168 w 512808"/>
                  <a:gd name="connsiteY26" fmla="*/ 768598 h 1291595"/>
                  <a:gd name="connsiteX27" fmla="*/ 122168 w 512808"/>
                  <a:gd name="connsiteY27" fmla="*/ 630951 h 1291595"/>
                  <a:gd name="connsiteX28" fmla="*/ 122168 w 512808"/>
                  <a:gd name="connsiteY28" fmla="*/ 405460 h 1291595"/>
                  <a:gd name="connsiteX29" fmla="*/ 119736 w 512808"/>
                  <a:gd name="connsiteY29" fmla="*/ 399589 h 1291595"/>
                  <a:gd name="connsiteX30" fmla="*/ 106804 w 512808"/>
                  <a:gd name="connsiteY30" fmla="*/ 394232 h 1291595"/>
                  <a:gd name="connsiteX31" fmla="*/ 88516 w 512808"/>
                  <a:gd name="connsiteY31" fmla="*/ 412520 h 1291595"/>
                  <a:gd name="connsiteX32" fmla="*/ 88516 w 512808"/>
                  <a:gd name="connsiteY32" fmla="*/ 735984 h 1291595"/>
                  <a:gd name="connsiteX33" fmla="*/ 88703 w 512808"/>
                  <a:gd name="connsiteY33" fmla="*/ 736435 h 1291595"/>
                  <a:gd name="connsiteX34" fmla="*/ 87847 w 512808"/>
                  <a:gd name="connsiteY34" fmla="*/ 740674 h 1291595"/>
                  <a:gd name="connsiteX35" fmla="*/ 45720 w 512808"/>
                  <a:gd name="connsiteY35" fmla="*/ 768598 h 1291595"/>
                  <a:gd name="connsiteX36" fmla="*/ 0 w 512808"/>
                  <a:gd name="connsiteY36" fmla="*/ 722878 h 1291595"/>
                  <a:gd name="connsiteX37" fmla="*/ 0 w 512808"/>
                  <a:gd name="connsiteY37" fmla="*/ 350381 h 1291595"/>
                  <a:gd name="connsiteX38" fmla="*/ 85839 w 512808"/>
                  <a:gd name="connsiteY38" fmla="*/ 264542 h 1291595"/>
                  <a:gd name="connsiteX39" fmla="*/ 251550 w 512808"/>
                  <a:gd name="connsiteY39" fmla="*/ 0 h 1291595"/>
                  <a:gd name="connsiteX40" fmla="*/ 374038 w 512808"/>
                  <a:gd name="connsiteY40" fmla="*/ 122488 h 1291595"/>
                  <a:gd name="connsiteX41" fmla="*/ 251550 w 512808"/>
                  <a:gd name="connsiteY41" fmla="*/ 244976 h 1291595"/>
                  <a:gd name="connsiteX42" fmla="*/ 129062 w 512808"/>
                  <a:gd name="connsiteY42" fmla="*/ 122488 h 1291595"/>
                  <a:gd name="connsiteX43" fmla="*/ 251550 w 512808"/>
                  <a:gd name="connsiteY43" fmla="*/ 0 h 1291595"/>
                  <a:gd name="connsiteX0" fmla="*/ 85839 w 512808"/>
                  <a:gd name="connsiteY0" fmla="*/ 264542 h 1291595"/>
                  <a:gd name="connsiteX1" fmla="*/ 91440 w 512808"/>
                  <a:gd name="connsiteY1" fmla="*/ 264542 h 1291595"/>
                  <a:gd name="connsiteX2" fmla="*/ 122168 w 512808"/>
                  <a:gd name="connsiteY2" fmla="*/ 264542 h 1291595"/>
                  <a:gd name="connsiteX3" fmla="*/ 390640 w 512808"/>
                  <a:gd name="connsiteY3" fmla="*/ 264542 h 1291595"/>
                  <a:gd name="connsiteX4" fmla="*/ 421368 w 512808"/>
                  <a:gd name="connsiteY4" fmla="*/ 264542 h 1291595"/>
                  <a:gd name="connsiteX5" fmla="*/ 426969 w 512808"/>
                  <a:gd name="connsiteY5" fmla="*/ 264542 h 1291595"/>
                  <a:gd name="connsiteX6" fmla="*/ 512808 w 512808"/>
                  <a:gd name="connsiteY6" fmla="*/ 350381 h 1291595"/>
                  <a:gd name="connsiteX7" fmla="*/ 512808 w 512808"/>
                  <a:gd name="connsiteY7" fmla="*/ 722878 h 1291595"/>
                  <a:gd name="connsiteX8" fmla="*/ 467088 w 512808"/>
                  <a:gd name="connsiteY8" fmla="*/ 768598 h 1291595"/>
                  <a:gd name="connsiteX9" fmla="*/ 424961 w 512808"/>
                  <a:gd name="connsiteY9" fmla="*/ 740674 h 1291595"/>
                  <a:gd name="connsiteX10" fmla="*/ 424105 w 512808"/>
                  <a:gd name="connsiteY10" fmla="*/ 736435 h 1291595"/>
                  <a:gd name="connsiteX11" fmla="*/ 424292 w 512808"/>
                  <a:gd name="connsiteY11" fmla="*/ 735984 h 1291595"/>
                  <a:gd name="connsiteX12" fmla="*/ 424292 w 512808"/>
                  <a:gd name="connsiteY12" fmla="*/ 412520 h 1291595"/>
                  <a:gd name="connsiteX13" fmla="*/ 406004 w 512808"/>
                  <a:gd name="connsiteY13" fmla="*/ 394232 h 1291595"/>
                  <a:gd name="connsiteX14" fmla="*/ 393073 w 512808"/>
                  <a:gd name="connsiteY14" fmla="*/ 399589 h 1291595"/>
                  <a:gd name="connsiteX15" fmla="*/ 390640 w 512808"/>
                  <a:gd name="connsiteY15" fmla="*/ 405461 h 1291595"/>
                  <a:gd name="connsiteX16" fmla="*/ 390640 w 512808"/>
                  <a:gd name="connsiteY16" fmla="*/ 630951 h 1291595"/>
                  <a:gd name="connsiteX17" fmla="*/ 390640 w 512808"/>
                  <a:gd name="connsiteY17" fmla="*/ 768598 h 1291595"/>
                  <a:gd name="connsiteX18" fmla="*/ 390640 w 512808"/>
                  <a:gd name="connsiteY18" fmla="*/ 1232159 h 1291595"/>
                  <a:gd name="connsiteX19" fmla="*/ 331204 w 512808"/>
                  <a:gd name="connsiteY19" fmla="*/ 1291595 h 1291595"/>
                  <a:gd name="connsiteX20" fmla="*/ 271768 w 512808"/>
                  <a:gd name="connsiteY20" fmla="*/ 1232159 h 1291595"/>
                  <a:gd name="connsiteX21" fmla="*/ 271768 w 512808"/>
                  <a:gd name="connsiteY21" fmla="*/ 768598 h 1291595"/>
                  <a:gd name="connsiteX22" fmla="*/ 241040 w 512808"/>
                  <a:gd name="connsiteY22" fmla="*/ 768598 h 1291595"/>
                  <a:gd name="connsiteX23" fmla="*/ 241040 w 512808"/>
                  <a:gd name="connsiteY23" fmla="*/ 1232159 h 1291595"/>
                  <a:gd name="connsiteX24" fmla="*/ 181604 w 512808"/>
                  <a:gd name="connsiteY24" fmla="*/ 1291595 h 1291595"/>
                  <a:gd name="connsiteX25" fmla="*/ 122168 w 512808"/>
                  <a:gd name="connsiteY25" fmla="*/ 1232159 h 1291595"/>
                  <a:gd name="connsiteX26" fmla="*/ 122168 w 512808"/>
                  <a:gd name="connsiteY26" fmla="*/ 630951 h 1291595"/>
                  <a:gd name="connsiteX27" fmla="*/ 122168 w 512808"/>
                  <a:gd name="connsiteY27" fmla="*/ 405460 h 1291595"/>
                  <a:gd name="connsiteX28" fmla="*/ 119736 w 512808"/>
                  <a:gd name="connsiteY28" fmla="*/ 399589 h 1291595"/>
                  <a:gd name="connsiteX29" fmla="*/ 106804 w 512808"/>
                  <a:gd name="connsiteY29" fmla="*/ 394232 h 1291595"/>
                  <a:gd name="connsiteX30" fmla="*/ 88516 w 512808"/>
                  <a:gd name="connsiteY30" fmla="*/ 412520 h 1291595"/>
                  <a:gd name="connsiteX31" fmla="*/ 88516 w 512808"/>
                  <a:gd name="connsiteY31" fmla="*/ 735984 h 1291595"/>
                  <a:gd name="connsiteX32" fmla="*/ 88703 w 512808"/>
                  <a:gd name="connsiteY32" fmla="*/ 736435 h 1291595"/>
                  <a:gd name="connsiteX33" fmla="*/ 87847 w 512808"/>
                  <a:gd name="connsiteY33" fmla="*/ 740674 h 1291595"/>
                  <a:gd name="connsiteX34" fmla="*/ 45720 w 512808"/>
                  <a:gd name="connsiteY34" fmla="*/ 768598 h 1291595"/>
                  <a:gd name="connsiteX35" fmla="*/ 0 w 512808"/>
                  <a:gd name="connsiteY35" fmla="*/ 722878 h 1291595"/>
                  <a:gd name="connsiteX36" fmla="*/ 0 w 512808"/>
                  <a:gd name="connsiteY36" fmla="*/ 350381 h 1291595"/>
                  <a:gd name="connsiteX37" fmla="*/ 85839 w 512808"/>
                  <a:gd name="connsiteY37" fmla="*/ 264542 h 1291595"/>
                  <a:gd name="connsiteX38" fmla="*/ 251550 w 512808"/>
                  <a:gd name="connsiteY38" fmla="*/ 0 h 1291595"/>
                  <a:gd name="connsiteX39" fmla="*/ 374038 w 512808"/>
                  <a:gd name="connsiteY39" fmla="*/ 122488 h 1291595"/>
                  <a:gd name="connsiteX40" fmla="*/ 251550 w 512808"/>
                  <a:gd name="connsiteY40" fmla="*/ 244976 h 1291595"/>
                  <a:gd name="connsiteX41" fmla="*/ 129062 w 512808"/>
                  <a:gd name="connsiteY41" fmla="*/ 122488 h 1291595"/>
                  <a:gd name="connsiteX42" fmla="*/ 251550 w 512808"/>
                  <a:gd name="connsiteY42" fmla="*/ 0 h 1291595"/>
                  <a:gd name="connsiteX0" fmla="*/ 85839 w 512808"/>
                  <a:gd name="connsiteY0" fmla="*/ 264542 h 1291595"/>
                  <a:gd name="connsiteX1" fmla="*/ 91440 w 512808"/>
                  <a:gd name="connsiteY1" fmla="*/ 264542 h 1291595"/>
                  <a:gd name="connsiteX2" fmla="*/ 122168 w 512808"/>
                  <a:gd name="connsiteY2" fmla="*/ 264542 h 1291595"/>
                  <a:gd name="connsiteX3" fmla="*/ 390640 w 512808"/>
                  <a:gd name="connsiteY3" fmla="*/ 264542 h 1291595"/>
                  <a:gd name="connsiteX4" fmla="*/ 421368 w 512808"/>
                  <a:gd name="connsiteY4" fmla="*/ 264542 h 1291595"/>
                  <a:gd name="connsiteX5" fmla="*/ 426969 w 512808"/>
                  <a:gd name="connsiteY5" fmla="*/ 264542 h 1291595"/>
                  <a:gd name="connsiteX6" fmla="*/ 512808 w 512808"/>
                  <a:gd name="connsiteY6" fmla="*/ 350381 h 1291595"/>
                  <a:gd name="connsiteX7" fmla="*/ 512808 w 512808"/>
                  <a:gd name="connsiteY7" fmla="*/ 722878 h 1291595"/>
                  <a:gd name="connsiteX8" fmla="*/ 467088 w 512808"/>
                  <a:gd name="connsiteY8" fmla="*/ 768598 h 1291595"/>
                  <a:gd name="connsiteX9" fmla="*/ 424961 w 512808"/>
                  <a:gd name="connsiteY9" fmla="*/ 740674 h 1291595"/>
                  <a:gd name="connsiteX10" fmla="*/ 424105 w 512808"/>
                  <a:gd name="connsiteY10" fmla="*/ 736435 h 1291595"/>
                  <a:gd name="connsiteX11" fmla="*/ 424292 w 512808"/>
                  <a:gd name="connsiteY11" fmla="*/ 735984 h 1291595"/>
                  <a:gd name="connsiteX12" fmla="*/ 424292 w 512808"/>
                  <a:gd name="connsiteY12" fmla="*/ 412520 h 1291595"/>
                  <a:gd name="connsiteX13" fmla="*/ 406004 w 512808"/>
                  <a:gd name="connsiteY13" fmla="*/ 394232 h 1291595"/>
                  <a:gd name="connsiteX14" fmla="*/ 393073 w 512808"/>
                  <a:gd name="connsiteY14" fmla="*/ 399589 h 1291595"/>
                  <a:gd name="connsiteX15" fmla="*/ 390640 w 512808"/>
                  <a:gd name="connsiteY15" fmla="*/ 405461 h 1291595"/>
                  <a:gd name="connsiteX16" fmla="*/ 390640 w 512808"/>
                  <a:gd name="connsiteY16" fmla="*/ 630951 h 1291595"/>
                  <a:gd name="connsiteX17" fmla="*/ 390640 w 512808"/>
                  <a:gd name="connsiteY17" fmla="*/ 768598 h 1291595"/>
                  <a:gd name="connsiteX18" fmla="*/ 390640 w 512808"/>
                  <a:gd name="connsiteY18" fmla="*/ 1232159 h 1291595"/>
                  <a:gd name="connsiteX19" fmla="*/ 331204 w 512808"/>
                  <a:gd name="connsiteY19" fmla="*/ 1291595 h 1291595"/>
                  <a:gd name="connsiteX20" fmla="*/ 271768 w 512808"/>
                  <a:gd name="connsiteY20" fmla="*/ 1232159 h 1291595"/>
                  <a:gd name="connsiteX21" fmla="*/ 271768 w 512808"/>
                  <a:gd name="connsiteY21" fmla="*/ 768598 h 1291595"/>
                  <a:gd name="connsiteX22" fmla="*/ 241040 w 512808"/>
                  <a:gd name="connsiteY22" fmla="*/ 768598 h 1291595"/>
                  <a:gd name="connsiteX23" fmla="*/ 241040 w 512808"/>
                  <a:gd name="connsiteY23" fmla="*/ 1232159 h 1291595"/>
                  <a:gd name="connsiteX24" fmla="*/ 181604 w 512808"/>
                  <a:gd name="connsiteY24" fmla="*/ 1291595 h 1291595"/>
                  <a:gd name="connsiteX25" fmla="*/ 122168 w 512808"/>
                  <a:gd name="connsiteY25" fmla="*/ 1232159 h 1291595"/>
                  <a:gd name="connsiteX26" fmla="*/ 122168 w 512808"/>
                  <a:gd name="connsiteY26" fmla="*/ 405460 h 1291595"/>
                  <a:gd name="connsiteX27" fmla="*/ 119736 w 512808"/>
                  <a:gd name="connsiteY27" fmla="*/ 399589 h 1291595"/>
                  <a:gd name="connsiteX28" fmla="*/ 106804 w 512808"/>
                  <a:gd name="connsiteY28" fmla="*/ 394232 h 1291595"/>
                  <a:gd name="connsiteX29" fmla="*/ 88516 w 512808"/>
                  <a:gd name="connsiteY29" fmla="*/ 412520 h 1291595"/>
                  <a:gd name="connsiteX30" fmla="*/ 88516 w 512808"/>
                  <a:gd name="connsiteY30" fmla="*/ 735984 h 1291595"/>
                  <a:gd name="connsiteX31" fmla="*/ 88703 w 512808"/>
                  <a:gd name="connsiteY31" fmla="*/ 736435 h 1291595"/>
                  <a:gd name="connsiteX32" fmla="*/ 87847 w 512808"/>
                  <a:gd name="connsiteY32" fmla="*/ 740674 h 1291595"/>
                  <a:gd name="connsiteX33" fmla="*/ 45720 w 512808"/>
                  <a:gd name="connsiteY33" fmla="*/ 768598 h 1291595"/>
                  <a:gd name="connsiteX34" fmla="*/ 0 w 512808"/>
                  <a:gd name="connsiteY34" fmla="*/ 722878 h 1291595"/>
                  <a:gd name="connsiteX35" fmla="*/ 0 w 512808"/>
                  <a:gd name="connsiteY35" fmla="*/ 350381 h 1291595"/>
                  <a:gd name="connsiteX36" fmla="*/ 85839 w 512808"/>
                  <a:gd name="connsiteY36" fmla="*/ 264542 h 1291595"/>
                  <a:gd name="connsiteX37" fmla="*/ 251550 w 512808"/>
                  <a:gd name="connsiteY37" fmla="*/ 0 h 1291595"/>
                  <a:gd name="connsiteX38" fmla="*/ 374038 w 512808"/>
                  <a:gd name="connsiteY38" fmla="*/ 122488 h 1291595"/>
                  <a:gd name="connsiteX39" fmla="*/ 251550 w 512808"/>
                  <a:gd name="connsiteY39" fmla="*/ 244976 h 1291595"/>
                  <a:gd name="connsiteX40" fmla="*/ 129062 w 512808"/>
                  <a:gd name="connsiteY40" fmla="*/ 122488 h 1291595"/>
                  <a:gd name="connsiteX41" fmla="*/ 251550 w 512808"/>
                  <a:gd name="connsiteY41" fmla="*/ 0 h 1291595"/>
                  <a:gd name="connsiteX0" fmla="*/ 85839 w 512808"/>
                  <a:gd name="connsiteY0" fmla="*/ 264542 h 1291595"/>
                  <a:gd name="connsiteX1" fmla="*/ 91440 w 512808"/>
                  <a:gd name="connsiteY1" fmla="*/ 264542 h 1291595"/>
                  <a:gd name="connsiteX2" fmla="*/ 122168 w 512808"/>
                  <a:gd name="connsiteY2" fmla="*/ 264542 h 1291595"/>
                  <a:gd name="connsiteX3" fmla="*/ 390640 w 512808"/>
                  <a:gd name="connsiteY3" fmla="*/ 264542 h 1291595"/>
                  <a:gd name="connsiteX4" fmla="*/ 421368 w 512808"/>
                  <a:gd name="connsiteY4" fmla="*/ 264542 h 1291595"/>
                  <a:gd name="connsiteX5" fmla="*/ 426969 w 512808"/>
                  <a:gd name="connsiteY5" fmla="*/ 264542 h 1291595"/>
                  <a:gd name="connsiteX6" fmla="*/ 512808 w 512808"/>
                  <a:gd name="connsiteY6" fmla="*/ 350381 h 1291595"/>
                  <a:gd name="connsiteX7" fmla="*/ 512808 w 512808"/>
                  <a:gd name="connsiteY7" fmla="*/ 722878 h 1291595"/>
                  <a:gd name="connsiteX8" fmla="*/ 467088 w 512808"/>
                  <a:gd name="connsiteY8" fmla="*/ 768598 h 1291595"/>
                  <a:gd name="connsiteX9" fmla="*/ 424961 w 512808"/>
                  <a:gd name="connsiteY9" fmla="*/ 740674 h 1291595"/>
                  <a:gd name="connsiteX10" fmla="*/ 424105 w 512808"/>
                  <a:gd name="connsiteY10" fmla="*/ 736435 h 1291595"/>
                  <a:gd name="connsiteX11" fmla="*/ 424292 w 512808"/>
                  <a:gd name="connsiteY11" fmla="*/ 735984 h 1291595"/>
                  <a:gd name="connsiteX12" fmla="*/ 424292 w 512808"/>
                  <a:gd name="connsiteY12" fmla="*/ 412520 h 1291595"/>
                  <a:gd name="connsiteX13" fmla="*/ 406004 w 512808"/>
                  <a:gd name="connsiteY13" fmla="*/ 394232 h 1291595"/>
                  <a:gd name="connsiteX14" fmla="*/ 393073 w 512808"/>
                  <a:gd name="connsiteY14" fmla="*/ 399589 h 1291595"/>
                  <a:gd name="connsiteX15" fmla="*/ 390640 w 512808"/>
                  <a:gd name="connsiteY15" fmla="*/ 405461 h 1291595"/>
                  <a:gd name="connsiteX16" fmla="*/ 390640 w 512808"/>
                  <a:gd name="connsiteY16" fmla="*/ 630951 h 1291595"/>
                  <a:gd name="connsiteX17" fmla="*/ 390640 w 512808"/>
                  <a:gd name="connsiteY17" fmla="*/ 1232159 h 1291595"/>
                  <a:gd name="connsiteX18" fmla="*/ 331204 w 512808"/>
                  <a:gd name="connsiteY18" fmla="*/ 1291595 h 1291595"/>
                  <a:gd name="connsiteX19" fmla="*/ 271768 w 512808"/>
                  <a:gd name="connsiteY19" fmla="*/ 1232159 h 1291595"/>
                  <a:gd name="connsiteX20" fmla="*/ 271768 w 512808"/>
                  <a:gd name="connsiteY20" fmla="*/ 768598 h 1291595"/>
                  <a:gd name="connsiteX21" fmla="*/ 241040 w 512808"/>
                  <a:gd name="connsiteY21" fmla="*/ 768598 h 1291595"/>
                  <a:gd name="connsiteX22" fmla="*/ 241040 w 512808"/>
                  <a:gd name="connsiteY22" fmla="*/ 1232159 h 1291595"/>
                  <a:gd name="connsiteX23" fmla="*/ 181604 w 512808"/>
                  <a:gd name="connsiteY23" fmla="*/ 1291595 h 1291595"/>
                  <a:gd name="connsiteX24" fmla="*/ 122168 w 512808"/>
                  <a:gd name="connsiteY24" fmla="*/ 1232159 h 1291595"/>
                  <a:gd name="connsiteX25" fmla="*/ 122168 w 512808"/>
                  <a:gd name="connsiteY25" fmla="*/ 405460 h 1291595"/>
                  <a:gd name="connsiteX26" fmla="*/ 119736 w 512808"/>
                  <a:gd name="connsiteY26" fmla="*/ 399589 h 1291595"/>
                  <a:gd name="connsiteX27" fmla="*/ 106804 w 512808"/>
                  <a:gd name="connsiteY27" fmla="*/ 394232 h 1291595"/>
                  <a:gd name="connsiteX28" fmla="*/ 88516 w 512808"/>
                  <a:gd name="connsiteY28" fmla="*/ 412520 h 1291595"/>
                  <a:gd name="connsiteX29" fmla="*/ 88516 w 512808"/>
                  <a:gd name="connsiteY29" fmla="*/ 735984 h 1291595"/>
                  <a:gd name="connsiteX30" fmla="*/ 88703 w 512808"/>
                  <a:gd name="connsiteY30" fmla="*/ 736435 h 1291595"/>
                  <a:gd name="connsiteX31" fmla="*/ 87847 w 512808"/>
                  <a:gd name="connsiteY31" fmla="*/ 740674 h 1291595"/>
                  <a:gd name="connsiteX32" fmla="*/ 45720 w 512808"/>
                  <a:gd name="connsiteY32" fmla="*/ 768598 h 1291595"/>
                  <a:gd name="connsiteX33" fmla="*/ 0 w 512808"/>
                  <a:gd name="connsiteY33" fmla="*/ 722878 h 1291595"/>
                  <a:gd name="connsiteX34" fmla="*/ 0 w 512808"/>
                  <a:gd name="connsiteY34" fmla="*/ 350381 h 1291595"/>
                  <a:gd name="connsiteX35" fmla="*/ 85839 w 512808"/>
                  <a:gd name="connsiteY35" fmla="*/ 264542 h 1291595"/>
                  <a:gd name="connsiteX36" fmla="*/ 251550 w 512808"/>
                  <a:gd name="connsiteY36" fmla="*/ 0 h 1291595"/>
                  <a:gd name="connsiteX37" fmla="*/ 374038 w 512808"/>
                  <a:gd name="connsiteY37" fmla="*/ 122488 h 1291595"/>
                  <a:gd name="connsiteX38" fmla="*/ 251550 w 512808"/>
                  <a:gd name="connsiteY38" fmla="*/ 244976 h 1291595"/>
                  <a:gd name="connsiteX39" fmla="*/ 129062 w 512808"/>
                  <a:gd name="connsiteY39" fmla="*/ 122488 h 1291595"/>
                  <a:gd name="connsiteX40" fmla="*/ 251550 w 512808"/>
                  <a:gd name="connsiteY40" fmla="*/ 0 h 1291595"/>
                  <a:gd name="connsiteX0" fmla="*/ 85839 w 512808"/>
                  <a:gd name="connsiteY0" fmla="*/ 264542 h 1291595"/>
                  <a:gd name="connsiteX1" fmla="*/ 91440 w 512808"/>
                  <a:gd name="connsiteY1" fmla="*/ 264542 h 1291595"/>
                  <a:gd name="connsiteX2" fmla="*/ 122168 w 512808"/>
                  <a:gd name="connsiteY2" fmla="*/ 264542 h 1291595"/>
                  <a:gd name="connsiteX3" fmla="*/ 390640 w 512808"/>
                  <a:gd name="connsiteY3" fmla="*/ 264542 h 1291595"/>
                  <a:gd name="connsiteX4" fmla="*/ 421368 w 512808"/>
                  <a:gd name="connsiteY4" fmla="*/ 264542 h 1291595"/>
                  <a:gd name="connsiteX5" fmla="*/ 426969 w 512808"/>
                  <a:gd name="connsiteY5" fmla="*/ 264542 h 1291595"/>
                  <a:gd name="connsiteX6" fmla="*/ 512808 w 512808"/>
                  <a:gd name="connsiteY6" fmla="*/ 350381 h 1291595"/>
                  <a:gd name="connsiteX7" fmla="*/ 512808 w 512808"/>
                  <a:gd name="connsiteY7" fmla="*/ 722878 h 1291595"/>
                  <a:gd name="connsiteX8" fmla="*/ 467088 w 512808"/>
                  <a:gd name="connsiteY8" fmla="*/ 768598 h 1291595"/>
                  <a:gd name="connsiteX9" fmla="*/ 424961 w 512808"/>
                  <a:gd name="connsiteY9" fmla="*/ 740674 h 1291595"/>
                  <a:gd name="connsiteX10" fmla="*/ 424105 w 512808"/>
                  <a:gd name="connsiteY10" fmla="*/ 736435 h 1291595"/>
                  <a:gd name="connsiteX11" fmla="*/ 424292 w 512808"/>
                  <a:gd name="connsiteY11" fmla="*/ 735984 h 1291595"/>
                  <a:gd name="connsiteX12" fmla="*/ 424292 w 512808"/>
                  <a:gd name="connsiteY12" fmla="*/ 412520 h 1291595"/>
                  <a:gd name="connsiteX13" fmla="*/ 406004 w 512808"/>
                  <a:gd name="connsiteY13" fmla="*/ 394232 h 1291595"/>
                  <a:gd name="connsiteX14" fmla="*/ 393073 w 512808"/>
                  <a:gd name="connsiteY14" fmla="*/ 399589 h 1291595"/>
                  <a:gd name="connsiteX15" fmla="*/ 390640 w 512808"/>
                  <a:gd name="connsiteY15" fmla="*/ 405461 h 1291595"/>
                  <a:gd name="connsiteX16" fmla="*/ 390640 w 512808"/>
                  <a:gd name="connsiteY16" fmla="*/ 1232159 h 1291595"/>
                  <a:gd name="connsiteX17" fmla="*/ 331204 w 512808"/>
                  <a:gd name="connsiteY17" fmla="*/ 1291595 h 1291595"/>
                  <a:gd name="connsiteX18" fmla="*/ 271768 w 512808"/>
                  <a:gd name="connsiteY18" fmla="*/ 1232159 h 1291595"/>
                  <a:gd name="connsiteX19" fmla="*/ 271768 w 512808"/>
                  <a:gd name="connsiteY19" fmla="*/ 768598 h 1291595"/>
                  <a:gd name="connsiteX20" fmla="*/ 241040 w 512808"/>
                  <a:gd name="connsiteY20" fmla="*/ 768598 h 1291595"/>
                  <a:gd name="connsiteX21" fmla="*/ 241040 w 512808"/>
                  <a:gd name="connsiteY21" fmla="*/ 1232159 h 1291595"/>
                  <a:gd name="connsiteX22" fmla="*/ 181604 w 512808"/>
                  <a:gd name="connsiteY22" fmla="*/ 1291595 h 1291595"/>
                  <a:gd name="connsiteX23" fmla="*/ 122168 w 512808"/>
                  <a:gd name="connsiteY23" fmla="*/ 1232159 h 1291595"/>
                  <a:gd name="connsiteX24" fmla="*/ 122168 w 512808"/>
                  <a:gd name="connsiteY24" fmla="*/ 405460 h 1291595"/>
                  <a:gd name="connsiteX25" fmla="*/ 119736 w 512808"/>
                  <a:gd name="connsiteY25" fmla="*/ 399589 h 1291595"/>
                  <a:gd name="connsiteX26" fmla="*/ 106804 w 512808"/>
                  <a:gd name="connsiteY26" fmla="*/ 394232 h 1291595"/>
                  <a:gd name="connsiteX27" fmla="*/ 88516 w 512808"/>
                  <a:gd name="connsiteY27" fmla="*/ 412520 h 1291595"/>
                  <a:gd name="connsiteX28" fmla="*/ 88516 w 512808"/>
                  <a:gd name="connsiteY28" fmla="*/ 735984 h 1291595"/>
                  <a:gd name="connsiteX29" fmla="*/ 88703 w 512808"/>
                  <a:gd name="connsiteY29" fmla="*/ 736435 h 1291595"/>
                  <a:gd name="connsiteX30" fmla="*/ 87847 w 512808"/>
                  <a:gd name="connsiteY30" fmla="*/ 740674 h 1291595"/>
                  <a:gd name="connsiteX31" fmla="*/ 45720 w 512808"/>
                  <a:gd name="connsiteY31" fmla="*/ 768598 h 1291595"/>
                  <a:gd name="connsiteX32" fmla="*/ 0 w 512808"/>
                  <a:gd name="connsiteY32" fmla="*/ 722878 h 1291595"/>
                  <a:gd name="connsiteX33" fmla="*/ 0 w 512808"/>
                  <a:gd name="connsiteY33" fmla="*/ 350381 h 1291595"/>
                  <a:gd name="connsiteX34" fmla="*/ 85839 w 512808"/>
                  <a:gd name="connsiteY34" fmla="*/ 264542 h 1291595"/>
                  <a:gd name="connsiteX35" fmla="*/ 251550 w 512808"/>
                  <a:gd name="connsiteY35" fmla="*/ 0 h 1291595"/>
                  <a:gd name="connsiteX36" fmla="*/ 374038 w 512808"/>
                  <a:gd name="connsiteY36" fmla="*/ 122488 h 1291595"/>
                  <a:gd name="connsiteX37" fmla="*/ 251550 w 512808"/>
                  <a:gd name="connsiteY37" fmla="*/ 244976 h 1291595"/>
                  <a:gd name="connsiteX38" fmla="*/ 129062 w 512808"/>
                  <a:gd name="connsiteY38" fmla="*/ 122488 h 1291595"/>
                  <a:gd name="connsiteX39" fmla="*/ 251550 w 512808"/>
                  <a:gd name="connsiteY39" fmla="*/ 0 h 1291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12808" h="1291595">
                    <a:moveTo>
                      <a:pt x="85839" y="264542"/>
                    </a:moveTo>
                    <a:lnTo>
                      <a:pt x="91440" y="264542"/>
                    </a:lnTo>
                    <a:lnTo>
                      <a:pt x="122168" y="264542"/>
                    </a:lnTo>
                    <a:lnTo>
                      <a:pt x="390640" y="264542"/>
                    </a:lnTo>
                    <a:lnTo>
                      <a:pt x="421368" y="264542"/>
                    </a:lnTo>
                    <a:lnTo>
                      <a:pt x="426969" y="264542"/>
                    </a:lnTo>
                    <a:cubicBezTo>
                      <a:pt x="474377" y="264542"/>
                      <a:pt x="512808" y="302973"/>
                      <a:pt x="512808" y="350381"/>
                    </a:cubicBezTo>
                    <a:lnTo>
                      <a:pt x="512808" y="722878"/>
                    </a:lnTo>
                    <a:cubicBezTo>
                      <a:pt x="512808" y="748128"/>
                      <a:pt x="492338" y="768598"/>
                      <a:pt x="467088" y="768598"/>
                    </a:cubicBezTo>
                    <a:cubicBezTo>
                      <a:pt x="448151" y="768598"/>
                      <a:pt x="431902" y="757084"/>
                      <a:pt x="424961" y="740674"/>
                    </a:cubicBezTo>
                    <a:lnTo>
                      <a:pt x="424105" y="736435"/>
                    </a:lnTo>
                    <a:lnTo>
                      <a:pt x="424292" y="735984"/>
                    </a:lnTo>
                    <a:lnTo>
                      <a:pt x="424292" y="412520"/>
                    </a:lnTo>
                    <a:cubicBezTo>
                      <a:pt x="424292" y="402420"/>
                      <a:pt x="416104" y="394232"/>
                      <a:pt x="406004" y="394232"/>
                    </a:cubicBezTo>
                    <a:cubicBezTo>
                      <a:pt x="400954" y="394232"/>
                      <a:pt x="396382" y="396279"/>
                      <a:pt x="393073" y="399589"/>
                    </a:cubicBezTo>
                    <a:lnTo>
                      <a:pt x="390640" y="405461"/>
                    </a:lnTo>
                    <a:lnTo>
                      <a:pt x="390640" y="1232159"/>
                    </a:lnTo>
                    <a:cubicBezTo>
                      <a:pt x="390640" y="1264985"/>
                      <a:pt x="364030" y="1291595"/>
                      <a:pt x="331204" y="1291595"/>
                    </a:cubicBezTo>
                    <a:cubicBezTo>
                      <a:pt x="298378" y="1291595"/>
                      <a:pt x="271768" y="1264985"/>
                      <a:pt x="271768" y="1232159"/>
                    </a:cubicBezTo>
                    <a:lnTo>
                      <a:pt x="271768" y="768598"/>
                    </a:lnTo>
                    <a:lnTo>
                      <a:pt x="241040" y="768598"/>
                    </a:lnTo>
                    <a:lnTo>
                      <a:pt x="241040" y="1232159"/>
                    </a:lnTo>
                    <a:cubicBezTo>
                      <a:pt x="241040" y="1264985"/>
                      <a:pt x="214430" y="1291595"/>
                      <a:pt x="181604" y="1291595"/>
                    </a:cubicBezTo>
                    <a:cubicBezTo>
                      <a:pt x="148778" y="1291595"/>
                      <a:pt x="122168" y="1264985"/>
                      <a:pt x="122168" y="1232159"/>
                    </a:cubicBezTo>
                    <a:lnTo>
                      <a:pt x="122168" y="405460"/>
                    </a:lnTo>
                    <a:lnTo>
                      <a:pt x="119736" y="399589"/>
                    </a:lnTo>
                    <a:cubicBezTo>
                      <a:pt x="116426" y="396279"/>
                      <a:pt x="111854" y="394232"/>
                      <a:pt x="106804" y="394232"/>
                    </a:cubicBezTo>
                    <a:cubicBezTo>
                      <a:pt x="96704" y="394232"/>
                      <a:pt x="88516" y="402420"/>
                      <a:pt x="88516" y="412520"/>
                    </a:cubicBezTo>
                    <a:lnTo>
                      <a:pt x="88516" y="735984"/>
                    </a:lnTo>
                    <a:lnTo>
                      <a:pt x="88703" y="736435"/>
                    </a:lnTo>
                    <a:lnTo>
                      <a:pt x="87847" y="740674"/>
                    </a:lnTo>
                    <a:cubicBezTo>
                      <a:pt x="80907" y="757084"/>
                      <a:pt x="64658" y="768598"/>
                      <a:pt x="45720" y="768598"/>
                    </a:cubicBezTo>
                    <a:cubicBezTo>
                      <a:pt x="20470" y="768598"/>
                      <a:pt x="0" y="748128"/>
                      <a:pt x="0" y="722878"/>
                    </a:cubicBezTo>
                    <a:lnTo>
                      <a:pt x="0" y="350381"/>
                    </a:lnTo>
                    <a:cubicBezTo>
                      <a:pt x="0" y="302973"/>
                      <a:pt x="38431" y="264542"/>
                      <a:pt x="85839" y="264542"/>
                    </a:cubicBezTo>
                    <a:close/>
                    <a:moveTo>
                      <a:pt x="251550" y="0"/>
                    </a:moveTo>
                    <a:cubicBezTo>
                      <a:pt x="319198" y="0"/>
                      <a:pt x="374038" y="54840"/>
                      <a:pt x="374038" y="122488"/>
                    </a:cubicBezTo>
                    <a:cubicBezTo>
                      <a:pt x="374038" y="190136"/>
                      <a:pt x="319198" y="244976"/>
                      <a:pt x="251550" y="244976"/>
                    </a:cubicBezTo>
                    <a:cubicBezTo>
                      <a:pt x="183902" y="244976"/>
                      <a:pt x="129062" y="190136"/>
                      <a:pt x="129062" y="122488"/>
                    </a:cubicBezTo>
                    <a:cubicBezTo>
                      <a:pt x="129062" y="54840"/>
                      <a:pt x="183902" y="0"/>
                      <a:pt x="251550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800" kern="0" dirty="0">
                  <a:solidFill>
                    <a:prstClr val="black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30" name="Freeform 43">
                <a:extLst>
                  <a:ext uri="{FF2B5EF4-FFF2-40B4-BE49-F238E27FC236}">
                    <a16:creationId xmlns="" xmlns:a16="http://schemas.microsoft.com/office/drawing/2014/main" id="{17586836-1590-4A21-AAE0-E752F52F40CD}"/>
                  </a:ext>
                </a:extLst>
              </p:cNvPr>
              <p:cNvSpPr/>
              <p:nvPr/>
            </p:nvSpPr>
            <p:spPr>
              <a:xfrm>
                <a:off x="4025484" y="2090505"/>
                <a:ext cx="294634" cy="636044"/>
              </a:xfrm>
              <a:custGeom>
                <a:avLst/>
                <a:gdLst>
                  <a:gd name="connsiteX0" fmla="*/ 166619 w 602029"/>
                  <a:gd name="connsiteY0" fmla="*/ 264542 h 1291595"/>
                  <a:gd name="connsiteX1" fmla="*/ 166620 w 602029"/>
                  <a:gd name="connsiteY1" fmla="*/ 264542 h 1291595"/>
                  <a:gd name="connsiteX2" fmla="*/ 428634 w 602029"/>
                  <a:gd name="connsiteY2" fmla="*/ 264542 h 1291595"/>
                  <a:gd name="connsiteX3" fmla="*/ 435091 w 602029"/>
                  <a:gd name="connsiteY3" fmla="*/ 264542 h 1291595"/>
                  <a:gd name="connsiteX4" fmla="*/ 454339 w 602029"/>
                  <a:gd name="connsiteY4" fmla="*/ 269732 h 1291595"/>
                  <a:gd name="connsiteX5" fmla="*/ 489482 w 602029"/>
                  <a:gd name="connsiteY5" fmla="*/ 304875 h 1291595"/>
                  <a:gd name="connsiteX6" fmla="*/ 600279 w 602029"/>
                  <a:gd name="connsiteY6" fmla="*/ 686222 h 1291595"/>
                  <a:gd name="connsiteX7" fmla="*/ 569014 w 602029"/>
                  <a:gd name="connsiteY7" fmla="*/ 742589 h 1291595"/>
                  <a:gd name="connsiteX8" fmla="*/ 521127 w 602029"/>
                  <a:gd name="connsiteY8" fmla="*/ 727123 h 1291595"/>
                  <a:gd name="connsiteX9" fmla="*/ 519154 w 602029"/>
                  <a:gd name="connsiteY9" fmla="*/ 723276 h 1291595"/>
                  <a:gd name="connsiteX10" fmla="*/ 519209 w 602029"/>
                  <a:gd name="connsiteY10" fmla="*/ 722792 h 1291595"/>
                  <a:gd name="connsiteX11" fmla="*/ 435091 w 602029"/>
                  <a:gd name="connsiteY11" fmla="*/ 425635 h 1291595"/>
                  <a:gd name="connsiteX12" fmla="*/ 435091 w 602029"/>
                  <a:gd name="connsiteY12" fmla="*/ 531915 h 1291595"/>
                  <a:gd name="connsiteX13" fmla="*/ 532452 w 602029"/>
                  <a:gd name="connsiteY13" fmla="*/ 886095 h 1291595"/>
                  <a:gd name="connsiteX14" fmla="*/ 435092 w 602029"/>
                  <a:gd name="connsiteY14" fmla="*/ 886095 h 1291595"/>
                  <a:gd name="connsiteX15" fmla="*/ 435092 w 602029"/>
                  <a:gd name="connsiteY15" fmla="*/ 1232159 h 1291595"/>
                  <a:gd name="connsiteX16" fmla="*/ 375656 w 602029"/>
                  <a:gd name="connsiteY16" fmla="*/ 1291595 h 1291595"/>
                  <a:gd name="connsiteX17" fmla="*/ 316220 w 602029"/>
                  <a:gd name="connsiteY17" fmla="*/ 1232159 h 1291595"/>
                  <a:gd name="connsiteX18" fmla="*/ 316220 w 602029"/>
                  <a:gd name="connsiteY18" fmla="*/ 886095 h 1291595"/>
                  <a:gd name="connsiteX19" fmla="*/ 285492 w 602029"/>
                  <a:gd name="connsiteY19" fmla="*/ 886095 h 1291595"/>
                  <a:gd name="connsiteX20" fmla="*/ 285492 w 602029"/>
                  <a:gd name="connsiteY20" fmla="*/ 1232159 h 1291595"/>
                  <a:gd name="connsiteX21" fmla="*/ 226056 w 602029"/>
                  <a:gd name="connsiteY21" fmla="*/ 1291595 h 1291595"/>
                  <a:gd name="connsiteX22" fmla="*/ 166620 w 602029"/>
                  <a:gd name="connsiteY22" fmla="*/ 1232159 h 1291595"/>
                  <a:gd name="connsiteX23" fmla="*/ 166620 w 602029"/>
                  <a:gd name="connsiteY23" fmla="*/ 886095 h 1291595"/>
                  <a:gd name="connsiteX24" fmla="*/ 67018 w 602029"/>
                  <a:gd name="connsiteY24" fmla="*/ 886095 h 1291595"/>
                  <a:gd name="connsiteX25" fmla="*/ 166619 w 602029"/>
                  <a:gd name="connsiteY25" fmla="*/ 523766 h 1291595"/>
                  <a:gd name="connsiteX26" fmla="*/ 166619 w 602029"/>
                  <a:gd name="connsiteY26" fmla="*/ 411846 h 1291595"/>
                  <a:gd name="connsiteX27" fmla="*/ 165999 w 602029"/>
                  <a:gd name="connsiteY27" fmla="*/ 412662 h 1291595"/>
                  <a:gd name="connsiteX28" fmla="*/ 83790 w 602029"/>
                  <a:gd name="connsiteY28" fmla="*/ 725504 h 1291595"/>
                  <a:gd name="connsiteX29" fmla="*/ 83856 w 602029"/>
                  <a:gd name="connsiteY29" fmla="*/ 725988 h 1291595"/>
                  <a:gd name="connsiteX30" fmla="*/ 81951 w 602029"/>
                  <a:gd name="connsiteY30" fmla="*/ 729870 h 1291595"/>
                  <a:gd name="connsiteX31" fmla="*/ 34111 w 602029"/>
                  <a:gd name="connsiteY31" fmla="*/ 746171 h 1291595"/>
                  <a:gd name="connsiteX32" fmla="*/ 1512 w 602029"/>
                  <a:gd name="connsiteY32" fmla="*/ 690332 h 1291595"/>
                  <a:gd name="connsiteX33" fmla="*/ 96183 w 602029"/>
                  <a:gd name="connsiteY33" fmla="*/ 330067 h 1291595"/>
                  <a:gd name="connsiteX34" fmla="*/ 105773 w 602029"/>
                  <a:gd name="connsiteY34" fmla="*/ 304875 h 1291595"/>
                  <a:gd name="connsiteX35" fmla="*/ 140916 w 602029"/>
                  <a:gd name="connsiteY35" fmla="*/ 269732 h 1291595"/>
                  <a:gd name="connsiteX36" fmla="*/ 296002 w 602029"/>
                  <a:gd name="connsiteY36" fmla="*/ 0 h 1291595"/>
                  <a:gd name="connsiteX37" fmla="*/ 418490 w 602029"/>
                  <a:gd name="connsiteY37" fmla="*/ 122488 h 1291595"/>
                  <a:gd name="connsiteX38" fmla="*/ 296002 w 602029"/>
                  <a:gd name="connsiteY38" fmla="*/ 244976 h 1291595"/>
                  <a:gd name="connsiteX39" fmla="*/ 173514 w 602029"/>
                  <a:gd name="connsiteY39" fmla="*/ 122488 h 1291595"/>
                  <a:gd name="connsiteX40" fmla="*/ 296002 w 602029"/>
                  <a:gd name="connsiteY40" fmla="*/ 0 h 1291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02029" h="1291595">
                    <a:moveTo>
                      <a:pt x="166619" y="264542"/>
                    </a:moveTo>
                    <a:lnTo>
                      <a:pt x="166620" y="264542"/>
                    </a:lnTo>
                    <a:lnTo>
                      <a:pt x="428634" y="264542"/>
                    </a:lnTo>
                    <a:lnTo>
                      <a:pt x="435091" y="264542"/>
                    </a:lnTo>
                    <a:lnTo>
                      <a:pt x="454339" y="269732"/>
                    </a:lnTo>
                    <a:cubicBezTo>
                      <a:pt x="470140" y="276415"/>
                      <a:pt x="482798" y="289074"/>
                      <a:pt x="489482" y="304875"/>
                    </a:cubicBezTo>
                    <a:lnTo>
                      <a:pt x="600279" y="686222"/>
                    </a:lnTo>
                    <a:cubicBezTo>
                      <a:pt x="607156" y="710517"/>
                      <a:pt x="593158" y="735754"/>
                      <a:pt x="569014" y="742589"/>
                    </a:cubicBezTo>
                    <a:cubicBezTo>
                      <a:pt x="550906" y="747715"/>
                      <a:pt x="532232" y="741035"/>
                      <a:pt x="521127" y="727123"/>
                    </a:cubicBezTo>
                    <a:lnTo>
                      <a:pt x="519154" y="723276"/>
                    </a:lnTo>
                    <a:cubicBezTo>
                      <a:pt x="519172" y="723115"/>
                      <a:pt x="519191" y="722953"/>
                      <a:pt x="519209" y="722792"/>
                    </a:cubicBezTo>
                    <a:lnTo>
                      <a:pt x="435091" y="425635"/>
                    </a:lnTo>
                    <a:lnTo>
                      <a:pt x="435091" y="531915"/>
                    </a:lnTo>
                    <a:lnTo>
                      <a:pt x="532452" y="886095"/>
                    </a:lnTo>
                    <a:lnTo>
                      <a:pt x="435092" y="886095"/>
                    </a:lnTo>
                    <a:lnTo>
                      <a:pt x="435092" y="1232159"/>
                    </a:lnTo>
                    <a:cubicBezTo>
                      <a:pt x="435092" y="1264985"/>
                      <a:pt x="408482" y="1291595"/>
                      <a:pt x="375656" y="1291595"/>
                    </a:cubicBezTo>
                    <a:cubicBezTo>
                      <a:pt x="342830" y="1291595"/>
                      <a:pt x="316220" y="1264985"/>
                      <a:pt x="316220" y="1232159"/>
                    </a:cubicBezTo>
                    <a:lnTo>
                      <a:pt x="316220" y="886095"/>
                    </a:lnTo>
                    <a:lnTo>
                      <a:pt x="285492" y="886095"/>
                    </a:lnTo>
                    <a:lnTo>
                      <a:pt x="285492" y="1232159"/>
                    </a:lnTo>
                    <a:cubicBezTo>
                      <a:pt x="285492" y="1264985"/>
                      <a:pt x="258882" y="1291595"/>
                      <a:pt x="226056" y="1291595"/>
                    </a:cubicBezTo>
                    <a:cubicBezTo>
                      <a:pt x="193230" y="1291595"/>
                      <a:pt x="166620" y="1264985"/>
                      <a:pt x="166620" y="1232159"/>
                    </a:cubicBezTo>
                    <a:lnTo>
                      <a:pt x="166620" y="886095"/>
                    </a:lnTo>
                    <a:lnTo>
                      <a:pt x="67018" y="886095"/>
                    </a:lnTo>
                    <a:lnTo>
                      <a:pt x="166619" y="523766"/>
                    </a:lnTo>
                    <a:lnTo>
                      <a:pt x="166619" y="411846"/>
                    </a:lnTo>
                    <a:lnTo>
                      <a:pt x="165999" y="412662"/>
                    </a:lnTo>
                    <a:lnTo>
                      <a:pt x="83790" y="725504"/>
                    </a:lnTo>
                    <a:cubicBezTo>
                      <a:pt x="83812" y="725665"/>
                      <a:pt x="83834" y="725827"/>
                      <a:pt x="83856" y="725988"/>
                    </a:cubicBezTo>
                    <a:lnTo>
                      <a:pt x="81951" y="729870"/>
                    </a:lnTo>
                    <a:cubicBezTo>
                      <a:pt x="71068" y="743978"/>
                      <a:pt x="52427" y="750984"/>
                      <a:pt x="34111" y="746171"/>
                    </a:cubicBezTo>
                    <a:cubicBezTo>
                      <a:pt x="9690" y="739754"/>
                      <a:pt x="-4906" y="714753"/>
                      <a:pt x="1512" y="690332"/>
                    </a:cubicBezTo>
                    <a:lnTo>
                      <a:pt x="96183" y="330067"/>
                    </a:lnTo>
                    <a:lnTo>
                      <a:pt x="105773" y="304875"/>
                    </a:lnTo>
                    <a:cubicBezTo>
                      <a:pt x="112456" y="289074"/>
                      <a:pt x="125115" y="276415"/>
                      <a:pt x="140916" y="269732"/>
                    </a:cubicBezTo>
                    <a:close/>
                    <a:moveTo>
                      <a:pt x="296002" y="0"/>
                    </a:moveTo>
                    <a:cubicBezTo>
                      <a:pt x="363650" y="0"/>
                      <a:pt x="418490" y="54840"/>
                      <a:pt x="418490" y="122488"/>
                    </a:cubicBezTo>
                    <a:cubicBezTo>
                      <a:pt x="418490" y="190136"/>
                      <a:pt x="363650" y="244976"/>
                      <a:pt x="296002" y="244976"/>
                    </a:cubicBezTo>
                    <a:cubicBezTo>
                      <a:pt x="228354" y="244976"/>
                      <a:pt x="173514" y="190136"/>
                      <a:pt x="173514" y="122488"/>
                    </a:cubicBezTo>
                    <a:cubicBezTo>
                      <a:pt x="173514" y="54840"/>
                      <a:pt x="228354" y="0"/>
                      <a:pt x="296002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800" kern="0" dirty="0">
                  <a:solidFill>
                    <a:prstClr val="black"/>
                  </a:solidFill>
                  <a:cs typeface="Segoe UI" panose="020B0502040204020203" pitchFamily="34" charset="0"/>
                </a:endParaRPr>
              </a:p>
            </p:txBody>
          </p:sp>
          <p:sp>
            <p:nvSpPr>
              <p:cNvPr id="31" name="Freeform 44">
                <a:extLst>
                  <a:ext uri="{FF2B5EF4-FFF2-40B4-BE49-F238E27FC236}">
                    <a16:creationId xmlns="" xmlns:a16="http://schemas.microsoft.com/office/drawing/2014/main" id="{141D48DC-A6C3-41AA-AE80-E013B7D27FE6}"/>
                  </a:ext>
                </a:extLst>
              </p:cNvPr>
              <p:cNvSpPr/>
              <p:nvPr/>
            </p:nvSpPr>
            <p:spPr>
              <a:xfrm>
                <a:off x="3408944" y="2244242"/>
                <a:ext cx="208014" cy="463744"/>
              </a:xfrm>
              <a:custGeom>
                <a:avLst/>
                <a:gdLst>
                  <a:gd name="connsiteX0" fmla="*/ 53398 w 319003"/>
                  <a:gd name="connsiteY0" fmla="*/ 181135 h 627121"/>
                  <a:gd name="connsiteX1" fmla="*/ 56882 w 319003"/>
                  <a:gd name="connsiteY1" fmla="*/ 181135 h 627121"/>
                  <a:gd name="connsiteX2" fmla="*/ 75997 w 319003"/>
                  <a:gd name="connsiteY2" fmla="*/ 181135 h 627121"/>
                  <a:gd name="connsiteX3" fmla="*/ 243006 w 319003"/>
                  <a:gd name="connsiteY3" fmla="*/ 181135 h 627121"/>
                  <a:gd name="connsiteX4" fmla="*/ 262121 w 319003"/>
                  <a:gd name="connsiteY4" fmla="*/ 181135 h 627121"/>
                  <a:gd name="connsiteX5" fmla="*/ 265605 w 319003"/>
                  <a:gd name="connsiteY5" fmla="*/ 181135 h 627121"/>
                  <a:gd name="connsiteX6" fmla="*/ 319003 w 319003"/>
                  <a:gd name="connsiteY6" fmla="*/ 246586 h 627121"/>
                  <a:gd name="connsiteX7" fmla="*/ 319003 w 319003"/>
                  <a:gd name="connsiteY7" fmla="*/ 320515 h 627121"/>
                  <a:gd name="connsiteX8" fmla="*/ 319003 w 319003"/>
                  <a:gd name="connsiteY8" fmla="*/ 321623 h 627121"/>
                  <a:gd name="connsiteX9" fmla="*/ 319003 w 319003"/>
                  <a:gd name="connsiteY9" fmla="*/ 378149 h 627121"/>
                  <a:gd name="connsiteX10" fmla="*/ 290562 w 319003"/>
                  <a:gd name="connsiteY10" fmla="*/ 413010 h 627121"/>
                  <a:gd name="connsiteX11" fmla="*/ 264356 w 319003"/>
                  <a:gd name="connsiteY11" fmla="*/ 391718 h 627121"/>
                  <a:gd name="connsiteX12" fmla="*/ 263823 w 319003"/>
                  <a:gd name="connsiteY12" fmla="*/ 388486 h 627121"/>
                  <a:gd name="connsiteX13" fmla="*/ 263940 w 319003"/>
                  <a:gd name="connsiteY13" fmla="*/ 388142 h 627121"/>
                  <a:gd name="connsiteX14" fmla="*/ 263940 w 319003"/>
                  <a:gd name="connsiteY14" fmla="*/ 321623 h 627121"/>
                  <a:gd name="connsiteX15" fmla="*/ 263940 w 319003"/>
                  <a:gd name="connsiteY15" fmla="*/ 320515 h 627121"/>
                  <a:gd name="connsiteX16" fmla="*/ 263940 w 319003"/>
                  <a:gd name="connsiteY16" fmla="*/ 293967 h 627121"/>
                  <a:gd name="connsiteX17" fmla="*/ 252563 w 319003"/>
                  <a:gd name="connsiteY17" fmla="*/ 280022 h 627121"/>
                  <a:gd name="connsiteX18" fmla="*/ 244519 w 319003"/>
                  <a:gd name="connsiteY18" fmla="*/ 284107 h 627121"/>
                  <a:gd name="connsiteX19" fmla="*/ 243006 w 319003"/>
                  <a:gd name="connsiteY19" fmla="*/ 288584 h 627121"/>
                  <a:gd name="connsiteX20" fmla="*/ 243006 w 319003"/>
                  <a:gd name="connsiteY20" fmla="*/ 320515 h 627121"/>
                  <a:gd name="connsiteX21" fmla="*/ 243006 w 319003"/>
                  <a:gd name="connsiteY21" fmla="*/ 321623 h 627121"/>
                  <a:gd name="connsiteX22" fmla="*/ 243006 w 319003"/>
                  <a:gd name="connsiteY22" fmla="*/ 413010 h 627121"/>
                  <a:gd name="connsiteX23" fmla="*/ 243006 w 319003"/>
                  <a:gd name="connsiteY23" fmla="*/ 511899 h 627121"/>
                  <a:gd name="connsiteX24" fmla="*/ 243006 w 319003"/>
                  <a:gd name="connsiteY24" fmla="*/ 514969 h 627121"/>
                  <a:gd name="connsiteX25" fmla="*/ 243006 w 319003"/>
                  <a:gd name="connsiteY25" fmla="*/ 581802 h 627121"/>
                  <a:gd name="connsiteX26" fmla="*/ 206032 w 319003"/>
                  <a:gd name="connsiteY26" fmla="*/ 627121 h 627121"/>
                  <a:gd name="connsiteX27" fmla="*/ 169059 w 319003"/>
                  <a:gd name="connsiteY27" fmla="*/ 581802 h 627121"/>
                  <a:gd name="connsiteX28" fmla="*/ 169059 w 319003"/>
                  <a:gd name="connsiteY28" fmla="*/ 514969 h 627121"/>
                  <a:gd name="connsiteX29" fmla="*/ 169059 w 319003"/>
                  <a:gd name="connsiteY29" fmla="*/ 511899 h 627121"/>
                  <a:gd name="connsiteX30" fmla="*/ 169059 w 319003"/>
                  <a:gd name="connsiteY30" fmla="*/ 413010 h 627121"/>
                  <a:gd name="connsiteX31" fmla="*/ 149944 w 319003"/>
                  <a:gd name="connsiteY31" fmla="*/ 413010 h 627121"/>
                  <a:gd name="connsiteX32" fmla="*/ 149944 w 319003"/>
                  <a:gd name="connsiteY32" fmla="*/ 511899 h 627121"/>
                  <a:gd name="connsiteX33" fmla="*/ 149944 w 319003"/>
                  <a:gd name="connsiteY33" fmla="*/ 514969 h 627121"/>
                  <a:gd name="connsiteX34" fmla="*/ 149944 w 319003"/>
                  <a:gd name="connsiteY34" fmla="*/ 581802 h 627121"/>
                  <a:gd name="connsiteX35" fmla="*/ 112971 w 319003"/>
                  <a:gd name="connsiteY35" fmla="*/ 627121 h 627121"/>
                  <a:gd name="connsiteX36" fmla="*/ 75997 w 319003"/>
                  <a:gd name="connsiteY36" fmla="*/ 581802 h 627121"/>
                  <a:gd name="connsiteX37" fmla="*/ 75997 w 319003"/>
                  <a:gd name="connsiteY37" fmla="*/ 514969 h 627121"/>
                  <a:gd name="connsiteX38" fmla="*/ 75997 w 319003"/>
                  <a:gd name="connsiteY38" fmla="*/ 511899 h 627121"/>
                  <a:gd name="connsiteX39" fmla="*/ 75997 w 319003"/>
                  <a:gd name="connsiteY39" fmla="*/ 413010 h 627121"/>
                  <a:gd name="connsiteX40" fmla="*/ 75997 w 319003"/>
                  <a:gd name="connsiteY40" fmla="*/ 321623 h 627121"/>
                  <a:gd name="connsiteX41" fmla="*/ 75997 w 319003"/>
                  <a:gd name="connsiteY41" fmla="*/ 320515 h 627121"/>
                  <a:gd name="connsiteX42" fmla="*/ 75997 w 319003"/>
                  <a:gd name="connsiteY42" fmla="*/ 288583 h 627121"/>
                  <a:gd name="connsiteX43" fmla="*/ 74485 w 319003"/>
                  <a:gd name="connsiteY43" fmla="*/ 284107 h 627121"/>
                  <a:gd name="connsiteX44" fmla="*/ 66440 w 319003"/>
                  <a:gd name="connsiteY44" fmla="*/ 280022 h 627121"/>
                  <a:gd name="connsiteX45" fmla="*/ 55063 w 319003"/>
                  <a:gd name="connsiteY45" fmla="*/ 293967 h 627121"/>
                  <a:gd name="connsiteX46" fmla="*/ 55063 w 319003"/>
                  <a:gd name="connsiteY46" fmla="*/ 320515 h 627121"/>
                  <a:gd name="connsiteX47" fmla="*/ 55063 w 319003"/>
                  <a:gd name="connsiteY47" fmla="*/ 321623 h 627121"/>
                  <a:gd name="connsiteX48" fmla="*/ 55063 w 319003"/>
                  <a:gd name="connsiteY48" fmla="*/ 388142 h 627121"/>
                  <a:gd name="connsiteX49" fmla="*/ 55180 w 319003"/>
                  <a:gd name="connsiteY49" fmla="*/ 388486 h 627121"/>
                  <a:gd name="connsiteX50" fmla="*/ 54647 w 319003"/>
                  <a:gd name="connsiteY50" fmla="*/ 391718 h 627121"/>
                  <a:gd name="connsiteX51" fmla="*/ 28441 w 319003"/>
                  <a:gd name="connsiteY51" fmla="*/ 413010 h 627121"/>
                  <a:gd name="connsiteX52" fmla="*/ 0 w 319003"/>
                  <a:gd name="connsiteY52" fmla="*/ 378149 h 627121"/>
                  <a:gd name="connsiteX53" fmla="*/ 0 w 319003"/>
                  <a:gd name="connsiteY53" fmla="*/ 321623 h 627121"/>
                  <a:gd name="connsiteX54" fmla="*/ 0 w 319003"/>
                  <a:gd name="connsiteY54" fmla="*/ 320515 h 627121"/>
                  <a:gd name="connsiteX55" fmla="*/ 0 w 319003"/>
                  <a:gd name="connsiteY55" fmla="*/ 246586 h 627121"/>
                  <a:gd name="connsiteX56" fmla="*/ 53398 w 319003"/>
                  <a:gd name="connsiteY56" fmla="*/ 181135 h 627121"/>
                  <a:gd name="connsiteX57" fmla="*/ 159501 w 319003"/>
                  <a:gd name="connsiteY57" fmla="*/ 0 h 627121"/>
                  <a:gd name="connsiteX58" fmla="*/ 241797 w 319003"/>
                  <a:gd name="connsiteY58" fmla="*/ 82296 h 627121"/>
                  <a:gd name="connsiteX59" fmla="*/ 159501 w 319003"/>
                  <a:gd name="connsiteY59" fmla="*/ 164592 h 627121"/>
                  <a:gd name="connsiteX60" fmla="*/ 77205 w 319003"/>
                  <a:gd name="connsiteY60" fmla="*/ 82296 h 627121"/>
                  <a:gd name="connsiteX61" fmla="*/ 159501 w 319003"/>
                  <a:gd name="connsiteY61" fmla="*/ 0 h 627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9003" h="627121">
                    <a:moveTo>
                      <a:pt x="53398" y="181135"/>
                    </a:moveTo>
                    <a:lnTo>
                      <a:pt x="56882" y="181135"/>
                    </a:lnTo>
                    <a:lnTo>
                      <a:pt x="75997" y="181135"/>
                    </a:lnTo>
                    <a:lnTo>
                      <a:pt x="243006" y="181135"/>
                    </a:lnTo>
                    <a:lnTo>
                      <a:pt x="262121" y="181135"/>
                    </a:lnTo>
                    <a:lnTo>
                      <a:pt x="265605" y="181135"/>
                    </a:lnTo>
                    <a:cubicBezTo>
                      <a:pt x="295096" y="181135"/>
                      <a:pt x="319003" y="210438"/>
                      <a:pt x="319003" y="246586"/>
                    </a:cubicBezTo>
                    <a:lnTo>
                      <a:pt x="319003" y="320515"/>
                    </a:lnTo>
                    <a:lnTo>
                      <a:pt x="319003" y="321623"/>
                    </a:lnTo>
                    <a:lnTo>
                      <a:pt x="319003" y="378149"/>
                    </a:lnTo>
                    <a:cubicBezTo>
                      <a:pt x="319003" y="397402"/>
                      <a:pt x="306269" y="413010"/>
                      <a:pt x="290562" y="413010"/>
                    </a:cubicBezTo>
                    <a:cubicBezTo>
                      <a:pt x="278782" y="413010"/>
                      <a:pt x="268674" y="404231"/>
                      <a:pt x="264356" y="391718"/>
                    </a:cubicBezTo>
                    <a:lnTo>
                      <a:pt x="263823" y="388486"/>
                    </a:lnTo>
                    <a:lnTo>
                      <a:pt x="263940" y="388142"/>
                    </a:lnTo>
                    <a:lnTo>
                      <a:pt x="263940" y="321623"/>
                    </a:lnTo>
                    <a:lnTo>
                      <a:pt x="263940" y="320515"/>
                    </a:lnTo>
                    <a:lnTo>
                      <a:pt x="263940" y="293967"/>
                    </a:lnTo>
                    <a:cubicBezTo>
                      <a:pt x="263940" y="286265"/>
                      <a:pt x="258846" y="280022"/>
                      <a:pt x="252563" y="280022"/>
                    </a:cubicBezTo>
                    <a:cubicBezTo>
                      <a:pt x="249422" y="280022"/>
                      <a:pt x="246578" y="281583"/>
                      <a:pt x="244519" y="284107"/>
                    </a:cubicBezTo>
                    <a:lnTo>
                      <a:pt x="243006" y="288584"/>
                    </a:lnTo>
                    <a:lnTo>
                      <a:pt x="243006" y="320515"/>
                    </a:lnTo>
                    <a:lnTo>
                      <a:pt x="243006" y="321623"/>
                    </a:lnTo>
                    <a:lnTo>
                      <a:pt x="243006" y="413010"/>
                    </a:lnTo>
                    <a:lnTo>
                      <a:pt x="243006" y="511899"/>
                    </a:lnTo>
                    <a:lnTo>
                      <a:pt x="243006" y="514969"/>
                    </a:lnTo>
                    <a:lnTo>
                      <a:pt x="243006" y="581802"/>
                    </a:lnTo>
                    <a:cubicBezTo>
                      <a:pt x="243006" y="606831"/>
                      <a:pt x="226453" y="627121"/>
                      <a:pt x="206032" y="627121"/>
                    </a:cubicBezTo>
                    <a:cubicBezTo>
                      <a:pt x="185612" y="627121"/>
                      <a:pt x="169059" y="606831"/>
                      <a:pt x="169059" y="581802"/>
                    </a:cubicBezTo>
                    <a:lnTo>
                      <a:pt x="169059" y="514969"/>
                    </a:lnTo>
                    <a:lnTo>
                      <a:pt x="169059" y="511899"/>
                    </a:lnTo>
                    <a:lnTo>
                      <a:pt x="169059" y="413010"/>
                    </a:lnTo>
                    <a:lnTo>
                      <a:pt x="149944" y="413010"/>
                    </a:lnTo>
                    <a:lnTo>
                      <a:pt x="149944" y="511899"/>
                    </a:lnTo>
                    <a:lnTo>
                      <a:pt x="149944" y="514969"/>
                    </a:lnTo>
                    <a:lnTo>
                      <a:pt x="149944" y="581802"/>
                    </a:lnTo>
                    <a:cubicBezTo>
                      <a:pt x="149944" y="606831"/>
                      <a:pt x="133391" y="627121"/>
                      <a:pt x="112971" y="627121"/>
                    </a:cubicBezTo>
                    <a:cubicBezTo>
                      <a:pt x="92551" y="627121"/>
                      <a:pt x="75997" y="606831"/>
                      <a:pt x="75997" y="581802"/>
                    </a:cubicBezTo>
                    <a:lnTo>
                      <a:pt x="75997" y="514969"/>
                    </a:lnTo>
                    <a:lnTo>
                      <a:pt x="75997" y="511899"/>
                    </a:lnTo>
                    <a:lnTo>
                      <a:pt x="75997" y="413010"/>
                    </a:lnTo>
                    <a:lnTo>
                      <a:pt x="75997" y="321623"/>
                    </a:lnTo>
                    <a:lnTo>
                      <a:pt x="75997" y="320515"/>
                    </a:lnTo>
                    <a:lnTo>
                      <a:pt x="75997" y="288583"/>
                    </a:lnTo>
                    <a:lnTo>
                      <a:pt x="74485" y="284107"/>
                    </a:lnTo>
                    <a:cubicBezTo>
                      <a:pt x="72425" y="281583"/>
                      <a:pt x="69581" y="280022"/>
                      <a:pt x="66440" y="280022"/>
                    </a:cubicBezTo>
                    <a:cubicBezTo>
                      <a:pt x="60157" y="280022"/>
                      <a:pt x="55063" y="286265"/>
                      <a:pt x="55063" y="293967"/>
                    </a:cubicBezTo>
                    <a:lnTo>
                      <a:pt x="55063" y="320515"/>
                    </a:lnTo>
                    <a:lnTo>
                      <a:pt x="55063" y="321623"/>
                    </a:lnTo>
                    <a:lnTo>
                      <a:pt x="55063" y="388142"/>
                    </a:lnTo>
                    <a:lnTo>
                      <a:pt x="55180" y="388486"/>
                    </a:lnTo>
                    <a:lnTo>
                      <a:pt x="54647" y="391718"/>
                    </a:lnTo>
                    <a:cubicBezTo>
                      <a:pt x="50330" y="404231"/>
                      <a:pt x="40222" y="413010"/>
                      <a:pt x="28441" y="413010"/>
                    </a:cubicBezTo>
                    <a:cubicBezTo>
                      <a:pt x="12734" y="413010"/>
                      <a:pt x="0" y="397402"/>
                      <a:pt x="0" y="378149"/>
                    </a:cubicBezTo>
                    <a:lnTo>
                      <a:pt x="0" y="321623"/>
                    </a:lnTo>
                    <a:lnTo>
                      <a:pt x="0" y="320515"/>
                    </a:lnTo>
                    <a:lnTo>
                      <a:pt x="0" y="246586"/>
                    </a:lnTo>
                    <a:cubicBezTo>
                      <a:pt x="0" y="210438"/>
                      <a:pt x="23907" y="181135"/>
                      <a:pt x="53398" y="181135"/>
                    </a:cubicBezTo>
                    <a:close/>
                    <a:moveTo>
                      <a:pt x="159501" y="0"/>
                    </a:moveTo>
                    <a:cubicBezTo>
                      <a:pt x="204952" y="0"/>
                      <a:pt x="241797" y="36845"/>
                      <a:pt x="241797" y="82296"/>
                    </a:cubicBezTo>
                    <a:cubicBezTo>
                      <a:pt x="241797" y="127747"/>
                      <a:pt x="204952" y="164592"/>
                      <a:pt x="159501" y="164592"/>
                    </a:cubicBezTo>
                    <a:cubicBezTo>
                      <a:pt x="114051" y="164592"/>
                      <a:pt x="77205" y="127747"/>
                      <a:pt x="77205" y="82296"/>
                    </a:cubicBezTo>
                    <a:cubicBezTo>
                      <a:pt x="77205" y="36845"/>
                      <a:pt x="114051" y="0"/>
                      <a:pt x="159501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800" kern="0" dirty="0">
                  <a:solidFill>
                    <a:prstClr val="black"/>
                  </a:solidFill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" name="Group 7">
              <a:extLst>
                <a:ext uri="{FF2B5EF4-FFF2-40B4-BE49-F238E27FC236}">
                  <a16:creationId xmlns="" xmlns:a16="http://schemas.microsoft.com/office/drawing/2014/main" id="{4E1189AA-25BC-46F9-835E-F43F01C4A04E}"/>
                </a:ext>
              </a:extLst>
            </p:cNvPr>
            <p:cNvGrpSpPr/>
            <p:nvPr/>
          </p:nvGrpSpPr>
          <p:grpSpPr>
            <a:xfrm>
              <a:off x="375295" y="1501412"/>
              <a:ext cx="3789299" cy="1904736"/>
              <a:chOff x="6104811" y="2645910"/>
              <a:chExt cx="5295876" cy="2649374"/>
            </a:xfrm>
          </p:grpSpPr>
          <p:sp>
            <p:nvSpPr>
              <p:cNvPr id="9" name="Circle: Hollow 36">
                <a:extLst>
                  <a:ext uri="{FF2B5EF4-FFF2-40B4-BE49-F238E27FC236}">
                    <a16:creationId xmlns="" xmlns:a16="http://schemas.microsoft.com/office/drawing/2014/main" id="{8EE3EACF-DD2B-49EF-AC7F-E2089E8DE650}"/>
                  </a:ext>
                </a:extLst>
              </p:cNvPr>
              <p:cNvSpPr/>
              <p:nvPr/>
            </p:nvSpPr>
            <p:spPr>
              <a:xfrm>
                <a:off x="8371922" y="2645910"/>
                <a:ext cx="962431" cy="962431"/>
              </a:xfrm>
              <a:prstGeom prst="donut">
                <a:avLst>
                  <a:gd name="adj" fmla="val 349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scene3d>
                <a:camera prst="isometricOffAxis1Top">
                  <a:rot lat="20561058" lon="19595284" rev="2221325"/>
                </a:camera>
                <a:lightRig rig="threePt" dir="t"/>
              </a:scene3d>
              <a:sp3d extrusionH="76200">
                <a:bevelB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2000" dirty="0"/>
              </a:p>
            </p:txBody>
          </p:sp>
          <p:grpSp>
            <p:nvGrpSpPr>
              <p:cNvPr id="6" name="Group 9">
                <a:extLst>
                  <a:ext uri="{FF2B5EF4-FFF2-40B4-BE49-F238E27FC236}">
                    <a16:creationId xmlns="" xmlns:a16="http://schemas.microsoft.com/office/drawing/2014/main" id="{112525DA-850E-4E12-9ED6-6ECA87318EFC}"/>
                  </a:ext>
                </a:extLst>
              </p:cNvPr>
              <p:cNvGrpSpPr/>
              <p:nvPr/>
            </p:nvGrpSpPr>
            <p:grpSpPr>
              <a:xfrm>
                <a:off x="6104811" y="2933651"/>
                <a:ext cx="2771179" cy="1503421"/>
                <a:chOff x="6104811" y="2933651"/>
                <a:chExt cx="2771179" cy="1503421"/>
              </a:xfrm>
            </p:grpSpPr>
            <p:sp>
              <p:nvSpPr>
                <p:cNvPr id="14" name="Freeform: Shape 49">
                  <a:extLst>
                    <a:ext uri="{FF2B5EF4-FFF2-40B4-BE49-F238E27FC236}">
                      <a16:creationId xmlns="" xmlns:a16="http://schemas.microsoft.com/office/drawing/2014/main" id="{9DD9B925-34B7-47BF-902E-01EA76CBFE86}"/>
                    </a:ext>
                  </a:extLst>
                </p:cNvPr>
                <p:cNvSpPr/>
                <p:nvPr/>
              </p:nvSpPr>
              <p:spPr>
                <a:xfrm rot="3782544">
                  <a:off x="6896284" y="2457367"/>
                  <a:ext cx="1206591" cy="2752820"/>
                </a:xfrm>
                <a:custGeom>
                  <a:avLst/>
                  <a:gdLst>
                    <a:gd name="connsiteX0" fmla="*/ 47410 w 1206591"/>
                    <a:gd name="connsiteY0" fmla="*/ 368466 h 2752820"/>
                    <a:gd name="connsiteX1" fmla="*/ 603296 w 1206591"/>
                    <a:gd name="connsiteY1" fmla="*/ 0 h 2752820"/>
                    <a:gd name="connsiteX2" fmla="*/ 838125 w 1206591"/>
                    <a:gd name="connsiteY2" fmla="*/ 47410 h 2752820"/>
                    <a:gd name="connsiteX3" fmla="*/ 897862 w 1206591"/>
                    <a:gd name="connsiteY3" fmla="*/ 79833 h 2752820"/>
                    <a:gd name="connsiteX4" fmla="*/ 803376 w 1206591"/>
                    <a:gd name="connsiteY4" fmla="*/ 156473 h 2752820"/>
                    <a:gd name="connsiteX5" fmla="*/ 703894 w 1206591"/>
                    <a:gd name="connsiteY5" fmla="*/ 201995 h 2752820"/>
                    <a:gd name="connsiteX6" fmla="*/ 665356 w 1206591"/>
                    <a:gd name="connsiteY6" fmla="*/ 176012 h 2752820"/>
                    <a:gd name="connsiteX7" fmla="*/ 603296 w 1206591"/>
                    <a:gd name="connsiteY7" fmla="*/ 163483 h 2752820"/>
                    <a:gd name="connsiteX8" fmla="*/ 443859 w 1206591"/>
                    <a:gd name="connsiteY8" fmla="*/ 322919 h 2752820"/>
                    <a:gd name="connsiteX9" fmla="*/ 603296 w 1206591"/>
                    <a:gd name="connsiteY9" fmla="*/ 482356 h 2752820"/>
                    <a:gd name="connsiteX10" fmla="*/ 762733 w 1206591"/>
                    <a:gd name="connsiteY10" fmla="*/ 322919 h 2752820"/>
                    <a:gd name="connsiteX11" fmla="*/ 753492 w 1206591"/>
                    <a:gd name="connsiteY11" fmla="*/ 277148 h 2752820"/>
                    <a:gd name="connsiteX12" fmla="*/ 785562 w 1206591"/>
                    <a:gd name="connsiteY12" fmla="*/ 266006 h 2752820"/>
                    <a:gd name="connsiteX13" fmla="*/ 963332 w 1206591"/>
                    <a:gd name="connsiteY13" fmla="*/ 139490 h 2752820"/>
                    <a:gd name="connsiteX14" fmla="*/ 972122 w 1206591"/>
                    <a:gd name="connsiteY14" fmla="*/ 129039 h 2752820"/>
                    <a:gd name="connsiteX15" fmla="*/ 1029890 w 1206591"/>
                    <a:gd name="connsiteY15" fmla="*/ 176701 h 2752820"/>
                    <a:gd name="connsiteX16" fmla="*/ 1206591 w 1206591"/>
                    <a:gd name="connsiteY16" fmla="*/ 603295 h 2752820"/>
                    <a:gd name="connsiteX17" fmla="*/ 940604 w 1206591"/>
                    <a:gd name="connsiteY17" fmla="*/ 1103558 h 2752820"/>
                    <a:gd name="connsiteX18" fmla="*/ 857670 w 1206591"/>
                    <a:gd name="connsiteY18" fmla="*/ 1148573 h 2752820"/>
                    <a:gd name="connsiteX19" fmla="*/ 857670 w 1206591"/>
                    <a:gd name="connsiteY19" fmla="*/ 2588272 h 2752820"/>
                    <a:gd name="connsiteX20" fmla="*/ 858547 w 1206591"/>
                    <a:gd name="connsiteY20" fmla="*/ 2599022 h 2752820"/>
                    <a:gd name="connsiteX21" fmla="*/ 853940 w 1206591"/>
                    <a:gd name="connsiteY21" fmla="*/ 2605603 h 2752820"/>
                    <a:gd name="connsiteX22" fmla="*/ 792294 w 1206591"/>
                    <a:gd name="connsiteY22" fmla="*/ 2666372 h 2752820"/>
                    <a:gd name="connsiteX23" fmla="*/ 755438 w 1206591"/>
                    <a:gd name="connsiteY23" fmla="*/ 2700595 h 2752820"/>
                    <a:gd name="connsiteX24" fmla="*/ 754564 w 1206591"/>
                    <a:gd name="connsiteY24" fmla="*/ 2698017 h 2752820"/>
                    <a:gd name="connsiteX25" fmla="*/ 754561 w 1206591"/>
                    <a:gd name="connsiteY25" fmla="*/ 2698182 h 2752820"/>
                    <a:gd name="connsiteX26" fmla="*/ 753684 w 1206591"/>
                    <a:gd name="connsiteY26" fmla="*/ 2702350 h 2752820"/>
                    <a:gd name="connsiteX27" fmla="*/ 710465 w 1206591"/>
                    <a:gd name="connsiteY27" fmla="*/ 2745349 h 2752820"/>
                    <a:gd name="connsiteX28" fmla="*/ 691819 w 1206591"/>
                    <a:gd name="connsiteY28" fmla="*/ 2752808 h 2752820"/>
                    <a:gd name="connsiteX29" fmla="*/ 657156 w 1206591"/>
                    <a:gd name="connsiteY29" fmla="*/ 2751930 h 2752820"/>
                    <a:gd name="connsiteX30" fmla="*/ 657149 w 1206591"/>
                    <a:gd name="connsiteY30" fmla="*/ 2747739 h 2752820"/>
                    <a:gd name="connsiteX31" fmla="*/ 655130 w 1206591"/>
                    <a:gd name="connsiteY31" fmla="*/ 2750014 h 2752820"/>
                    <a:gd name="connsiteX32" fmla="*/ 650136 w 1206591"/>
                    <a:gd name="connsiteY32" fmla="*/ 2750394 h 2752820"/>
                    <a:gd name="connsiteX33" fmla="*/ 636754 w 1206591"/>
                    <a:gd name="connsiteY33" fmla="*/ 2739645 h 2752820"/>
                    <a:gd name="connsiteX34" fmla="*/ 464979 w 1206591"/>
                    <a:gd name="connsiteY34" fmla="*/ 2536499 h 2752820"/>
                    <a:gd name="connsiteX35" fmla="*/ 466076 w 1206591"/>
                    <a:gd name="connsiteY35" fmla="*/ 2504909 h 2752820"/>
                    <a:gd name="connsiteX36" fmla="*/ 512365 w 1206591"/>
                    <a:gd name="connsiteY36" fmla="*/ 2450064 h 2752820"/>
                    <a:gd name="connsiteX37" fmla="*/ 513461 w 1206591"/>
                    <a:gd name="connsiteY37" fmla="*/ 2414304 h 2752820"/>
                    <a:gd name="connsiteX38" fmla="*/ 542639 w 1206591"/>
                    <a:gd name="connsiteY38" fmla="*/ 2356607 h 2752820"/>
                    <a:gd name="connsiteX39" fmla="*/ 640702 w 1206591"/>
                    <a:gd name="connsiteY39" fmla="*/ 2281579 h 2752820"/>
                    <a:gd name="connsiteX40" fmla="*/ 657156 w 1206591"/>
                    <a:gd name="connsiteY40" fmla="*/ 2261176 h 2752820"/>
                    <a:gd name="connsiteX41" fmla="*/ 659999 w 1206591"/>
                    <a:gd name="connsiteY41" fmla="*/ 2263633 h 2752820"/>
                    <a:gd name="connsiteX42" fmla="*/ 660008 w 1206591"/>
                    <a:gd name="connsiteY42" fmla="*/ 2261397 h 2752820"/>
                    <a:gd name="connsiteX43" fmla="*/ 661105 w 1206591"/>
                    <a:gd name="connsiteY43" fmla="*/ 2256131 h 2752820"/>
                    <a:gd name="connsiteX44" fmla="*/ 679094 w 1206591"/>
                    <a:gd name="connsiteY44" fmla="*/ 2199970 h 2752820"/>
                    <a:gd name="connsiteX45" fmla="*/ 680850 w 1206591"/>
                    <a:gd name="connsiteY45" fmla="*/ 2198873 h 2752820"/>
                    <a:gd name="connsiteX46" fmla="*/ 678655 w 1206591"/>
                    <a:gd name="connsiteY46" fmla="*/ 2173205 h 2752820"/>
                    <a:gd name="connsiteX47" fmla="*/ 663080 w 1206591"/>
                    <a:gd name="connsiteY47" fmla="*/ 2157849 h 2752820"/>
                    <a:gd name="connsiteX48" fmla="*/ 663299 w 1206591"/>
                    <a:gd name="connsiteY48" fmla="*/ 2156313 h 2752820"/>
                    <a:gd name="connsiteX49" fmla="*/ 663807 w 1206591"/>
                    <a:gd name="connsiteY49" fmla="*/ 2151829 h 2752820"/>
                    <a:gd name="connsiteX50" fmla="*/ 661325 w 1206591"/>
                    <a:gd name="connsiteY50" fmla="*/ 2155874 h 2752820"/>
                    <a:gd name="connsiteX51" fmla="*/ 582567 w 1206591"/>
                    <a:gd name="connsiteY51" fmla="*/ 2089402 h 2752820"/>
                    <a:gd name="connsiteX52" fmla="*/ 580320 w 1206591"/>
                    <a:gd name="connsiteY52" fmla="*/ 2084265 h 2752820"/>
                    <a:gd name="connsiteX53" fmla="*/ 577741 w 1206591"/>
                    <a:gd name="connsiteY53" fmla="*/ 2085892 h 2752820"/>
                    <a:gd name="connsiteX54" fmla="*/ 573792 w 1206591"/>
                    <a:gd name="connsiteY54" fmla="*/ 2083259 h 2752820"/>
                    <a:gd name="connsiteX55" fmla="*/ 559971 w 1206591"/>
                    <a:gd name="connsiteY55" fmla="*/ 2070316 h 2752820"/>
                    <a:gd name="connsiteX56" fmla="*/ 575766 w 1206591"/>
                    <a:gd name="connsiteY56" fmla="*/ 2039603 h 2752820"/>
                    <a:gd name="connsiteX57" fmla="*/ 581909 w 1206591"/>
                    <a:gd name="connsiteY57" fmla="*/ 2023588 h 2752820"/>
                    <a:gd name="connsiteX58" fmla="*/ 575985 w 1206591"/>
                    <a:gd name="connsiteY58" fmla="*/ 1975544 h 2752820"/>
                    <a:gd name="connsiteX59" fmla="*/ 527502 w 1206591"/>
                    <a:gd name="connsiteY59" fmla="*/ 1912143 h 2752820"/>
                    <a:gd name="connsiteX60" fmla="*/ 527502 w 1206591"/>
                    <a:gd name="connsiteY60" fmla="*/ 1883623 h 2752820"/>
                    <a:gd name="connsiteX61" fmla="*/ 562164 w 1206591"/>
                    <a:gd name="connsiteY61" fmla="*/ 1814738 h 2752820"/>
                    <a:gd name="connsiteX62" fmla="*/ 543736 w 1206591"/>
                    <a:gd name="connsiteY62" fmla="*/ 1755725 h 2752820"/>
                    <a:gd name="connsiteX63" fmla="*/ 532109 w 1206591"/>
                    <a:gd name="connsiteY63" fmla="*/ 1738613 h 2752820"/>
                    <a:gd name="connsiteX64" fmla="*/ 534084 w 1206591"/>
                    <a:gd name="connsiteY64" fmla="*/ 1736639 h 2752820"/>
                    <a:gd name="connsiteX65" fmla="*/ 534303 w 1206591"/>
                    <a:gd name="connsiteY65" fmla="*/ 1736200 h 2752820"/>
                    <a:gd name="connsiteX66" fmla="*/ 532109 w 1206591"/>
                    <a:gd name="connsiteY66" fmla="*/ 1735103 h 2752820"/>
                    <a:gd name="connsiteX67" fmla="*/ 501616 w 1206591"/>
                    <a:gd name="connsiteY67" fmla="*/ 1709874 h 2752820"/>
                    <a:gd name="connsiteX68" fmla="*/ 497008 w 1206591"/>
                    <a:gd name="connsiteY68" fmla="*/ 1687937 h 2752820"/>
                    <a:gd name="connsiteX69" fmla="*/ 531808 w 1206591"/>
                    <a:gd name="connsiteY69" fmla="*/ 1626564 h 2752820"/>
                    <a:gd name="connsiteX70" fmla="*/ 531822 w 1206591"/>
                    <a:gd name="connsiteY70" fmla="*/ 1627420 h 2752820"/>
                    <a:gd name="connsiteX71" fmla="*/ 532461 w 1206591"/>
                    <a:gd name="connsiteY71" fmla="*/ 1563126 h 2752820"/>
                    <a:gd name="connsiteX72" fmla="*/ 473315 w 1206591"/>
                    <a:gd name="connsiteY72" fmla="*/ 1495321 h 2752820"/>
                    <a:gd name="connsiteX73" fmla="*/ 471341 w 1206591"/>
                    <a:gd name="connsiteY73" fmla="*/ 1476454 h 2752820"/>
                    <a:gd name="connsiteX74" fmla="*/ 495253 w 1206591"/>
                    <a:gd name="connsiteY74" fmla="*/ 1441134 h 2752820"/>
                    <a:gd name="connsiteX75" fmla="*/ 463662 w 1206591"/>
                    <a:gd name="connsiteY75" fmla="*/ 1350750 h 2752820"/>
                    <a:gd name="connsiteX76" fmla="*/ 449841 w 1206591"/>
                    <a:gd name="connsiteY76" fmla="*/ 1348117 h 2752820"/>
                    <a:gd name="connsiteX77" fmla="*/ 437556 w 1206591"/>
                    <a:gd name="connsiteY77" fmla="*/ 1335173 h 2752820"/>
                    <a:gd name="connsiteX78" fmla="*/ 438214 w 1206591"/>
                    <a:gd name="connsiteY78" fmla="*/ 1311042 h 2752820"/>
                    <a:gd name="connsiteX79" fmla="*/ 422638 w 1206591"/>
                    <a:gd name="connsiteY79" fmla="*/ 1304021 h 2752820"/>
                    <a:gd name="connsiteX80" fmla="*/ 406404 w 1206591"/>
                    <a:gd name="connsiteY80" fmla="*/ 1304021 h 2752820"/>
                    <a:gd name="connsiteX81" fmla="*/ 348049 w 1206591"/>
                    <a:gd name="connsiteY81" fmla="*/ 1311041 h 2752820"/>
                    <a:gd name="connsiteX82" fmla="*/ 334447 w 1206591"/>
                    <a:gd name="connsiteY82" fmla="*/ 1296343 h 2752820"/>
                    <a:gd name="connsiteX83" fmla="*/ 338177 w 1206591"/>
                    <a:gd name="connsiteY83" fmla="*/ 1192356 h 2752820"/>
                    <a:gd name="connsiteX84" fmla="*/ 339472 w 1206591"/>
                    <a:gd name="connsiteY84" fmla="*/ 1143444 h 2752820"/>
                    <a:gd name="connsiteX85" fmla="*/ 265987 w 1206591"/>
                    <a:gd name="connsiteY85" fmla="*/ 1103558 h 2752820"/>
                    <a:gd name="connsiteX86" fmla="*/ 0 w 1206591"/>
                    <a:gd name="connsiteY86" fmla="*/ 603296 h 2752820"/>
                    <a:gd name="connsiteX87" fmla="*/ 47410 w 1206591"/>
                    <a:gd name="connsiteY87" fmla="*/ 368466 h 2752820"/>
                    <a:gd name="connsiteX0" fmla="*/ 47410 w 1206591"/>
                    <a:gd name="connsiteY0" fmla="*/ 368466 h 2752820"/>
                    <a:gd name="connsiteX1" fmla="*/ 603296 w 1206591"/>
                    <a:gd name="connsiteY1" fmla="*/ 0 h 2752820"/>
                    <a:gd name="connsiteX2" fmla="*/ 838125 w 1206591"/>
                    <a:gd name="connsiteY2" fmla="*/ 47410 h 2752820"/>
                    <a:gd name="connsiteX3" fmla="*/ 897862 w 1206591"/>
                    <a:gd name="connsiteY3" fmla="*/ 79833 h 2752820"/>
                    <a:gd name="connsiteX4" fmla="*/ 803376 w 1206591"/>
                    <a:gd name="connsiteY4" fmla="*/ 156473 h 2752820"/>
                    <a:gd name="connsiteX5" fmla="*/ 665356 w 1206591"/>
                    <a:gd name="connsiteY5" fmla="*/ 176012 h 2752820"/>
                    <a:gd name="connsiteX6" fmla="*/ 603296 w 1206591"/>
                    <a:gd name="connsiteY6" fmla="*/ 163483 h 2752820"/>
                    <a:gd name="connsiteX7" fmla="*/ 443859 w 1206591"/>
                    <a:gd name="connsiteY7" fmla="*/ 322919 h 2752820"/>
                    <a:gd name="connsiteX8" fmla="*/ 603296 w 1206591"/>
                    <a:gd name="connsiteY8" fmla="*/ 482356 h 2752820"/>
                    <a:gd name="connsiteX9" fmla="*/ 762733 w 1206591"/>
                    <a:gd name="connsiteY9" fmla="*/ 322919 h 2752820"/>
                    <a:gd name="connsiteX10" fmla="*/ 753492 w 1206591"/>
                    <a:gd name="connsiteY10" fmla="*/ 277148 h 2752820"/>
                    <a:gd name="connsiteX11" fmla="*/ 785562 w 1206591"/>
                    <a:gd name="connsiteY11" fmla="*/ 266006 h 2752820"/>
                    <a:gd name="connsiteX12" fmla="*/ 963332 w 1206591"/>
                    <a:gd name="connsiteY12" fmla="*/ 139490 h 2752820"/>
                    <a:gd name="connsiteX13" fmla="*/ 972122 w 1206591"/>
                    <a:gd name="connsiteY13" fmla="*/ 129039 h 2752820"/>
                    <a:gd name="connsiteX14" fmla="*/ 1029890 w 1206591"/>
                    <a:gd name="connsiteY14" fmla="*/ 176701 h 2752820"/>
                    <a:gd name="connsiteX15" fmla="*/ 1206591 w 1206591"/>
                    <a:gd name="connsiteY15" fmla="*/ 603295 h 2752820"/>
                    <a:gd name="connsiteX16" fmla="*/ 940604 w 1206591"/>
                    <a:gd name="connsiteY16" fmla="*/ 1103558 h 2752820"/>
                    <a:gd name="connsiteX17" fmla="*/ 857670 w 1206591"/>
                    <a:gd name="connsiteY17" fmla="*/ 1148573 h 2752820"/>
                    <a:gd name="connsiteX18" fmla="*/ 857670 w 1206591"/>
                    <a:gd name="connsiteY18" fmla="*/ 2588272 h 2752820"/>
                    <a:gd name="connsiteX19" fmla="*/ 858547 w 1206591"/>
                    <a:gd name="connsiteY19" fmla="*/ 2599022 h 2752820"/>
                    <a:gd name="connsiteX20" fmla="*/ 853940 w 1206591"/>
                    <a:gd name="connsiteY20" fmla="*/ 2605603 h 2752820"/>
                    <a:gd name="connsiteX21" fmla="*/ 792294 w 1206591"/>
                    <a:gd name="connsiteY21" fmla="*/ 2666372 h 2752820"/>
                    <a:gd name="connsiteX22" fmla="*/ 755438 w 1206591"/>
                    <a:gd name="connsiteY22" fmla="*/ 2700595 h 2752820"/>
                    <a:gd name="connsiteX23" fmla="*/ 754564 w 1206591"/>
                    <a:gd name="connsiteY23" fmla="*/ 2698017 h 2752820"/>
                    <a:gd name="connsiteX24" fmla="*/ 754561 w 1206591"/>
                    <a:gd name="connsiteY24" fmla="*/ 2698182 h 2752820"/>
                    <a:gd name="connsiteX25" fmla="*/ 753684 w 1206591"/>
                    <a:gd name="connsiteY25" fmla="*/ 2702350 h 2752820"/>
                    <a:gd name="connsiteX26" fmla="*/ 710465 w 1206591"/>
                    <a:gd name="connsiteY26" fmla="*/ 2745349 h 2752820"/>
                    <a:gd name="connsiteX27" fmla="*/ 691819 w 1206591"/>
                    <a:gd name="connsiteY27" fmla="*/ 2752808 h 2752820"/>
                    <a:gd name="connsiteX28" fmla="*/ 657156 w 1206591"/>
                    <a:gd name="connsiteY28" fmla="*/ 2751930 h 2752820"/>
                    <a:gd name="connsiteX29" fmla="*/ 657149 w 1206591"/>
                    <a:gd name="connsiteY29" fmla="*/ 2747739 h 2752820"/>
                    <a:gd name="connsiteX30" fmla="*/ 655130 w 1206591"/>
                    <a:gd name="connsiteY30" fmla="*/ 2750014 h 2752820"/>
                    <a:gd name="connsiteX31" fmla="*/ 650136 w 1206591"/>
                    <a:gd name="connsiteY31" fmla="*/ 2750394 h 2752820"/>
                    <a:gd name="connsiteX32" fmla="*/ 636754 w 1206591"/>
                    <a:gd name="connsiteY32" fmla="*/ 2739645 h 2752820"/>
                    <a:gd name="connsiteX33" fmla="*/ 464979 w 1206591"/>
                    <a:gd name="connsiteY33" fmla="*/ 2536499 h 2752820"/>
                    <a:gd name="connsiteX34" fmla="*/ 466076 w 1206591"/>
                    <a:gd name="connsiteY34" fmla="*/ 2504909 h 2752820"/>
                    <a:gd name="connsiteX35" fmla="*/ 512365 w 1206591"/>
                    <a:gd name="connsiteY35" fmla="*/ 2450064 h 2752820"/>
                    <a:gd name="connsiteX36" fmla="*/ 513461 w 1206591"/>
                    <a:gd name="connsiteY36" fmla="*/ 2414304 h 2752820"/>
                    <a:gd name="connsiteX37" fmla="*/ 542639 w 1206591"/>
                    <a:gd name="connsiteY37" fmla="*/ 2356607 h 2752820"/>
                    <a:gd name="connsiteX38" fmla="*/ 640702 w 1206591"/>
                    <a:gd name="connsiteY38" fmla="*/ 2281579 h 2752820"/>
                    <a:gd name="connsiteX39" fmla="*/ 657156 w 1206591"/>
                    <a:gd name="connsiteY39" fmla="*/ 2261176 h 2752820"/>
                    <a:gd name="connsiteX40" fmla="*/ 659999 w 1206591"/>
                    <a:gd name="connsiteY40" fmla="*/ 2263633 h 2752820"/>
                    <a:gd name="connsiteX41" fmla="*/ 660008 w 1206591"/>
                    <a:gd name="connsiteY41" fmla="*/ 2261397 h 2752820"/>
                    <a:gd name="connsiteX42" fmla="*/ 661105 w 1206591"/>
                    <a:gd name="connsiteY42" fmla="*/ 2256131 h 2752820"/>
                    <a:gd name="connsiteX43" fmla="*/ 679094 w 1206591"/>
                    <a:gd name="connsiteY43" fmla="*/ 2199970 h 2752820"/>
                    <a:gd name="connsiteX44" fmla="*/ 680850 w 1206591"/>
                    <a:gd name="connsiteY44" fmla="*/ 2198873 h 2752820"/>
                    <a:gd name="connsiteX45" fmla="*/ 678655 w 1206591"/>
                    <a:gd name="connsiteY45" fmla="*/ 2173205 h 2752820"/>
                    <a:gd name="connsiteX46" fmla="*/ 663080 w 1206591"/>
                    <a:gd name="connsiteY46" fmla="*/ 2157849 h 2752820"/>
                    <a:gd name="connsiteX47" fmla="*/ 663299 w 1206591"/>
                    <a:gd name="connsiteY47" fmla="*/ 2156313 h 2752820"/>
                    <a:gd name="connsiteX48" fmla="*/ 663807 w 1206591"/>
                    <a:gd name="connsiteY48" fmla="*/ 2151829 h 2752820"/>
                    <a:gd name="connsiteX49" fmla="*/ 661325 w 1206591"/>
                    <a:gd name="connsiteY49" fmla="*/ 2155874 h 2752820"/>
                    <a:gd name="connsiteX50" fmla="*/ 582567 w 1206591"/>
                    <a:gd name="connsiteY50" fmla="*/ 2089402 h 2752820"/>
                    <a:gd name="connsiteX51" fmla="*/ 580320 w 1206591"/>
                    <a:gd name="connsiteY51" fmla="*/ 2084265 h 2752820"/>
                    <a:gd name="connsiteX52" fmla="*/ 577741 w 1206591"/>
                    <a:gd name="connsiteY52" fmla="*/ 2085892 h 2752820"/>
                    <a:gd name="connsiteX53" fmla="*/ 573792 w 1206591"/>
                    <a:gd name="connsiteY53" fmla="*/ 2083259 h 2752820"/>
                    <a:gd name="connsiteX54" fmla="*/ 559971 w 1206591"/>
                    <a:gd name="connsiteY54" fmla="*/ 2070316 h 2752820"/>
                    <a:gd name="connsiteX55" fmla="*/ 575766 w 1206591"/>
                    <a:gd name="connsiteY55" fmla="*/ 2039603 h 2752820"/>
                    <a:gd name="connsiteX56" fmla="*/ 581909 w 1206591"/>
                    <a:gd name="connsiteY56" fmla="*/ 2023588 h 2752820"/>
                    <a:gd name="connsiteX57" fmla="*/ 575985 w 1206591"/>
                    <a:gd name="connsiteY57" fmla="*/ 1975544 h 2752820"/>
                    <a:gd name="connsiteX58" fmla="*/ 527502 w 1206591"/>
                    <a:gd name="connsiteY58" fmla="*/ 1912143 h 2752820"/>
                    <a:gd name="connsiteX59" fmla="*/ 527502 w 1206591"/>
                    <a:gd name="connsiteY59" fmla="*/ 1883623 h 2752820"/>
                    <a:gd name="connsiteX60" fmla="*/ 562164 w 1206591"/>
                    <a:gd name="connsiteY60" fmla="*/ 1814738 h 2752820"/>
                    <a:gd name="connsiteX61" fmla="*/ 543736 w 1206591"/>
                    <a:gd name="connsiteY61" fmla="*/ 1755725 h 2752820"/>
                    <a:gd name="connsiteX62" fmla="*/ 532109 w 1206591"/>
                    <a:gd name="connsiteY62" fmla="*/ 1738613 h 2752820"/>
                    <a:gd name="connsiteX63" fmla="*/ 534084 w 1206591"/>
                    <a:gd name="connsiteY63" fmla="*/ 1736639 h 2752820"/>
                    <a:gd name="connsiteX64" fmla="*/ 534303 w 1206591"/>
                    <a:gd name="connsiteY64" fmla="*/ 1736200 h 2752820"/>
                    <a:gd name="connsiteX65" fmla="*/ 532109 w 1206591"/>
                    <a:gd name="connsiteY65" fmla="*/ 1735103 h 2752820"/>
                    <a:gd name="connsiteX66" fmla="*/ 501616 w 1206591"/>
                    <a:gd name="connsiteY66" fmla="*/ 1709874 h 2752820"/>
                    <a:gd name="connsiteX67" fmla="*/ 497008 w 1206591"/>
                    <a:gd name="connsiteY67" fmla="*/ 1687937 h 2752820"/>
                    <a:gd name="connsiteX68" fmla="*/ 531808 w 1206591"/>
                    <a:gd name="connsiteY68" fmla="*/ 1626564 h 2752820"/>
                    <a:gd name="connsiteX69" fmla="*/ 531822 w 1206591"/>
                    <a:gd name="connsiteY69" fmla="*/ 1627420 h 2752820"/>
                    <a:gd name="connsiteX70" fmla="*/ 532461 w 1206591"/>
                    <a:gd name="connsiteY70" fmla="*/ 1563126 h 2752820"/>
                    <a:gd name="connsiteX71" fmla="*/ 473315 w 1206591"/>
                    <a:gd name="connsiteY71" fmla="*/ 1495321 h 2752820"/>
                    <a:gd name="connsiteX72" fmla="*/ 471341 w 1206591"/>
                    <a:gd name="connsiteY72" fmla="*/ 1476454 h 2752820"/>
                    <a:gd name="connsiteX73" fmla="*/ 495253 w 1206591"/>
                    <a:gd name="connsiteY73" fmla="*/ 1441134 h 2752820"/>
                    <a:gd name="connsiteX74" fmla="*/ 463662 w 1206591"/>
                    <a:gd name="connsiteY74" fmla="*/ 1350750 h 2752820"/>
                    <a:gd name="connsiteX75" fmla="*/ 449841 w 1206591"/>
                    <a:gd name="connsiteY75" fmla="*/ 1348117 h 2752820"/>
                    <a:gd name="connsiteX76" fmla="*/ 437556 w 1206591"/>
                    <a:gd name="connsiteY76" fmla="*/ 1335173 h 2752820"/>
                    <a:gd name="connsiteX77" fmla="*/ 438214 w 1206591"/>
                    <a:gd name="connsiteY77" fmla="*/ 1311042 h 2752820"/>
                    <a:gd name="connsiteX78" fmla="*/ 422638 w 1206591"/>
                    <a:gd name="connsiteY78" fmla="*/ 1304021 h 2752820"/>
                    <a:gd name="connsiteX79" fmla="*/ 406404 w 1206591"/>
                    <a:gd name="connsiteY79" fmla="*/ 1304021 h 2752820"/>
                    <a:gd name="connsiteX80" fmla="*/ 348049 w 1206591"/>
                    <a:gd name="connsiteY80" fmla="*/ 1311041 h 2752820"/>
                    <a:gd name="connsiteX81" fmla="*/ 334447 w 1206591"/>
                    <a:gd name="connsiteY81" fmla="*/ 1296343 h 2752820"/>
                    <a:gd name="connsiteX82" fmla="*/ 338177 w 1206591"/>
                    <a:gd name="connsiteY82" fmla="*/ 1192356 h 2752820"/>
                    <a:gd name="connsiteX83" fmla="*/ 339472 w 1206591"/>
                    <a:gd name="connsiteY83" fmla="*/ 1143444 h 2752820"/>
                    <a:gd name="connsiteX84" fmla="*/ 265987 w 1206591"/>
                    <a:gd name="connsiteY84" fmla="*/ 1103558 h 2752820"/>
                    <a:gd name="connsiteX85" fmla="*/ 0 w 1206591"/>
                    <a:gd name="connsiteY85" fmla="*/ 603296 h 2752820"/>
                    <a:gd name="connsiteX86" fmla="*/ 47410 w 1206591"/>
                    <a:gd name="connsiteY86" fmla="*/ 368466 h 2752820"/>
                    <a:gd name="connsiteX0" fmla="*/ 47410 w 1206591"/>
                    <a:gd name="connsiteY0" fmla="*/ 368466 h 2752820"/>
                    <a:gd name="connsiteX1" fmla="*/ 603296 w 1206591"/>
                    <a:gd name="connsiteY1" fmla="*/ 0 h 2752820"/>
                    <a:gd name="connsiteX2" fmla="*/ 838125 w 1206591"/>
                    <a:gd name="connsiteY2" fmla="*/ 47410 h 2752820"/>
                    <a:gd name="connsiteX3" fmla="*/ 897862 w 1206591"/>
                    <a:gd name="connsiteY3" fmla="*/ 79833 h 2752820"/>
                    <a:gd name="connsiteX4" fmla="*/ 665356 w 1206591"/>
                    <a:gd name="connsiteY4" fmla="*/ 176012 h 2752820"/>
                    <a:gd name="connsiteX5" fmla="*/ 603296 w 1206591"/>
                    <a:gd name="connsiteY5" fmla="*/ 163483 h 2752820"/>
                    <a:gd name="connsiteX6" fmla="*/ 443859 w 1206591"/>
                    <a:gd name="connsiteY6" fmla="*/ 322919 h 2752820"/>
                    <a:gd name="connsiteX7" fmla="*/ 603296 w 1206591"/>
                    <a:gd name="connsiteY7" fmla="*/ 482356 h 2752820"/>
                    <a:gd name="connsiteX8" fmla="*/ 762733 w 1206591"/>
                    <a:gd name="connsiteY8" fmla="*/ 322919 h 2752820"/>
                    <a:gd name="connsiteX9" fmla="*/ 753492 w 1206591"/>
                    <a:gd name="connsiteY9" fmla="*/ 277148 h 2752820"/>
                    <a:gd name="connsiteX10" fmla="*/ 785562 w 1206591"/>
                    <a:gd name="connsiteY10" fmla="*/ 266006 h 2752820"/>
                    <a:gd name="connsiteX11" fmla="*/ 963332 w 1206591"/>
                    <a:gd name="connsiteY11" fmla="*/ 139490 h 2752820"/>
                    <a:gd name="connsiteX12" fmla="*/ 972122 w 1206591"/>
                    <a:gd name="connsiteY12" fmla="*/ 129039 h 2752820"/>
                    <a:gd name="connsiteX13" fmla="*/ 1029890 w 1206591"/>
                    <a:gd name="connsiteY13" fmla="*/ 176701 h 2752820"/>
                    <a:gd name="connsiteX14" fmla="*/ 1206591 w 1206591"/>
                    <a:gd name="connsiteY14" fmla="*/ 603295 h 2752820"/>
                    <a:gd name="connsiteX15" fmla="*/ 940604 w 1206591"/>
                    <a:gd name="connsiteY15" fmla="*/ 1103558 h 2752820"/>
                    <a:gd name="connsiteX16" fmla="*/ 857670 w 1206591"/>
                    <a:gd name="connsiteY16" fmla="*/ 1148573 h 2752820"/>
                    <a:gd name="connsiteX17" fmla="*/ 857670 w 1206591"/>
                    <a:gd name="connsiteY17" fmla="*/ 2588272 h 2752820"/>
                    <a:gd name="connsiteX18" fmla="*/ 858547 w 1206591"/>
                    <a:gd name="connsiteY18" fmla="*/ 2599022 h 2752820"/>
                    <a:gd name="connsiteX19" fmla="*/ 853940 w 1206591"/>
                    <a:gd name="connsiteY19" fmla="*/ 2605603 h 2752820"/>
                    <a:gd name="connsiteX20" fmla="*/ 792294 w 1206591"/>
                    <a:gd name="connsiteY20" fmla="*/ 2666372 h 2752820"/>
                    <a:gd name="connsiteX21" fmla="*/ 755438 w 1206591"/>
                    <a:gd name="connsiteY21" fmla="*/ 2700595 h 2752820"/>
                    <a:gd name="connsiteX22" fmla="*/ 754564 w 1206591"/>
                    <a:gd name="connsiteY22" fmla="*/ 2698017 h 2752820"/>
                    <a:gd name="connsiteX23" fmla="*/ 754561 w 1206591"/>
                    <a:gd name="connsiteY23" fmla="*/ 2698182 h 2752820"/>
                    <a:gd name="connsiteX24" fmla="*/ 753684 w 1206591"/>
                    <a:gd name="connsiteY24" fmla="*/ 2702350 h 2752820"/>
                    <a:gd name="connsiteX25" fmla="*/ 710465 w 1206591"/>
                    <a:gd name="connsiteY25" fmla="*/ 2745349 h 2752820"/>
                    <a:gd name="connsiteX26" fmla="*/ 691819 w 1206591"/>
                    <a:gd name="connsiteY26" fmla="*/ 2752808 h 2752820"/>
                    <a:gd name="connsiteX27" fmla="*/ 657156 w 1206591"/>
                    <a:gd name="connsiteY27" fmla="*/ 2751930 h 2752820"/>
                    <a:gd name="connsiteX28" fmla="*/ 657149 w 1206591"/>
                    <a:gd name="connsiteY28" fmla="*/ 2747739 h 2752820"/>
                    <a:gd name="connsiteX29" fmla="*/ 655130 w 1206591"/>
                    <a:gd name="connsiteY29" fmla="*/ 2750014 h 2752820"/>
                    <a:gd name="connsiteX30" fmla="*/ 650136 w 1206591"/>
                    <a:gd name="connsiteY30" fmla="*/ 2750394 h 2752820"/>
                    <a:gd name="connsiteX31" fmla="*/ 636754 w 1206591"/>
                    <a:gd name="connsiteY31" fmla="*/ 2739645 h 2752820"/>
                    <a:gd name="connsiteX32" fmla="*/ 464979 w 1206591"/>
                    <a:gd name="connsiteY32" fmla="*/ 2536499 h 2752820"/>
                    <a:gd name="connsiteX33" fmla="*/ 466076 w 1206591"/>
                    <a:gd name="connsiteY33" fmla="*/ 2504909 h 2752820"/>
                    <a:gd name="connsiteX34" fmla="*/ 512365 w 1206591"/>
                    <a:gd name="connsiteY34" fmla="*/ 2450064 h 2752820"/>
                    <a:gd name="connsiteX35" fmla="*/ 513461 w 1206591"/>
                    <a:gd name="connsiteY35" fmla="*/ 2414304 h 2752820"/>
                    <a:gd name="connsiteX36" fmla="*/ 542639 w 1206591"/>
                    <a:gd name="connsiteY36" fmla="*/ 2356607 h 2752820"/>
                    <a:gd name="connsiteX37" fmla="*/ 640702 w 1206591"/>
                    <a:gd name="connsiteY37" fmla="*/ 2281579 h 2752820"/>
                    <a:gd name="connsiteX38" fmla="*/ 657156 w 1206591"/>
                    <a:gd name="connsiteY38" fmla="*/ 2261176 h 2752820"/>
                    <a:gd name="connsiteX39" fmla="*/ 659999 w 1206591"/>
                    <a:gd name="connsiteY39" fmla="*/ 2263633 h 2752820"/>
                    <a:gd name="connsiteX40" fmla="*/ 660008 w 1206591"/>
                    <a:gd name="connsiteY40" fmla="*/ 2261397 h 2752820"/>
                    <a:gd name="connsiteX41" fmla="*/ 661105 w 1206591"/>
                    <a:gd name="connsiteY41" fmla="*/ 2256131 h 2752820"/>
                    <a:gd name="connsiteX42" fmla="*/ 679094 w 1206591"/>
                    <a:gd name="connsiteY42" fmla="*/ 2199970 h 2752820"/>
                    <a:gd name="connsiteX43" fmla="*/ 680850 w 1206591"/>
                    <a:gd name="connsiteY43" fmla="*/ 2198873 h 2752820"/>
                    <a:gd name="connsiteX44" fmla="*/ 678655 w 1206591"/>
                    <a:gd name="connsiteY44" fmla="*/ 2173205 h 2752820"/>
                    <a:gd name="connsiteX45" fmla="*/ 663080 w 1206591"/>
                    <a:gd name="connsiteY45" fmla="*/ 2157849 h 2752820"/>
                    <a:gd name="connsiteX46" fmla="*/ 663299 w 1206591"/>
                    <a:gd name="connsiteY46" fmla="*/ 2156313 h 2752820"/>
                    <a:gd name="connsiteX47" fmla="*/ 663807 w 1206591"/>
                    <a:gd name="connsiteY47" fmla="*/ 2151829 h 2752820"/>
                    <a:gd name="connsiteX48" fmla="*/ 661325 w 1206591"/>
                    <a:gd name="connsiteY48" fmla="*/ 2155874 h 2752820"/>
                    <a:gd name="connsiteX49" fmla="*/ 582567 w 1206591"/>
                    <a:gd name="connsiteY49" fmla="*/ 2089402 h 2752820"/>
                    <a:gd name="connsiteX50" fmla="*/ 580320 w 1206591"/>
                    <a:gd name="connsiteY50" fmla="*/ 2084265 h 2752820"/>
                    <a:gd name="connsiteX51" fmla="*/ 577741 w 1206591"/>
                    <a:gd name="connsiteY51" fmla="*/ 2085892 h 2752820"/>
                    <a:gd name="connsiteX52" fmla="*/ 573792 w 1206591"/>
                    <a:gd name="connsiteY52" fmla="*/ 2083259 h 2752820"/>
                    <a:gd name="connsiteX53" fmla="*/ 559971 w 1206591"/>
                    <a:gd name="connsiteY53" fmla="*/ 2070316 h 2752820"/>
                    <a:gd name="connsiteX54" fmla="*/ 575766 w 1206591"/>
                    <a:gd name="connsiteY54" fmla="*/ 2039603 h 2752820"/>
                    <a:gd name="connsiteX55" fmla="*/ 581909 w 1206591"/>
                    <a:gd name="connsiteY55" fmla="*/ 2023588 h 2752820"/>
                    <a:gd name="connsiteX56" fmla="*/ 575985 w 1206591"/>
                    <a:gd name="connsiteY56" fmla="*/ 1975544 h 2752820"/>
                    <a:gd name="connsiteX57" fmla="*/ 527502 w 1206591"/>
                    <a:gd name="connsiteY57" fmla="*/ 1912143 h 2752820"/>
                    <a:gd name="connsiteX58" fmla="*/ 527502 w 1206591"/>
                    <a:gd name="connsiteY58" fmla="*/ 1883623 h 2752820"/>
                    <a:gd name="connsiteX59" fmla="*/ 562164 w 1206591"/>
                    <a:gd name="connsiteY59" fmla="*/ 1814738 h 2752820"/>
                    <a:gd name="connsiteX60" fmla="*/ 543736 w 1206591"/>
                    <a:gd name="connsiteY60" fmla="*/ 1755725 h 2752820"/>
                    <a:gd name="connsiteX61" fmla="*/ 532109 w 1206591"/>
                    <a:gd name="connsiteY61" fmla="*/ 1738613 h 2752820"/>
                    <a:gd name="connsiteX62" fmla="*/ 534084 w 1206591"/>
                    <a:gd name="connsiteY62" fmla="*/ 1736639 h 2752820"/>
                    <a:gd name="connsiteX63" fmla="*/ 534303 w 1206591"/>
                    <a:gd name="connsiteY63" fmla="*/ 1736200 h 2752820"/>
                    <a:gd name="connsiteX64" fmla="*/ 532109 w 1206591"/>
                    <a:gd name="connsiteY64" fmla="*/ 1735103 h 2752820"/>
                    <a:gd name="connsiteX65" fmla="*/ 501616 w 1206591"/>
                    <a:gd name="connsiteY65" fmla="*/ 1709874 h 2752820"/>
                    <a:gd name="connsiteX66" fmla="*/ 497008 w 1206591"/>
                    <a:gd name="connsiteY66" fmla="*/ 1687937 h 2752820"/>
                    <a:gd name="connsiteX67" fmla="*/ 531808 w 1206591"/>
                    <a:gd name="connsiteY67" fmla="*/ 1626564 h 2752820"/>
                    <a:gd name="connsiteX68" fmla="*/ 531822 w 1206591"/>
                    <a:gd name="connsiteY68" fmla="*/ 1627420 h 2752820"/>
                    <a:gd name="connsiteX69" fmla="*/ 532461 w 1206591"/>
                    <a:gd name="connsiteY69" fmla="*/ 1563126 h 2752820"/>
                    <a:gd name="connsiteX70" fmla="*/ 473315 w 1206591"/>
                    <a:gd name="connsiteY70" fmla="*/ 1495321 h 2752820"/>
                    <a:gd name="connsiteX71" fmla="*/ 471341 w 1206591"/>
                    <a:gd name="connsiteY71" fmla="*/ 1476454 h 2752820"/>
                    <a:gd name="connsiteX72" fmla="*/ 495253 w 1206591"/>
                    <a:gd name="connsiteY72" fmla="*/ 1441134 h 2752820"/>
                    <a:gd name="connsiteX73" fmla="*/ 463662 w 1206591"/>
                    <a:gd name="connsiteY73" fmla="*/ 1350750 h 2752820"/>
                    <a:gd name="connsiteX74" fmla="*/ 449841 w 1206591"/>
                    <a:gd name="connsiteY74" fmla="*/ 1348117 h 2752820"/>
                    <a:gd name="connsiteX75" fmla="*/ 437556 w 1206591"/>
                    <a:gd name="connsiteY75" fmla="*/ 1335173 h 2752820"/>
                    <a:gd name="connsiteX76" fmla="*/ 438214 w 1206591"/>
                    <a:gd name="connsiteY76" fmla="*/ 1311042 h 2752820"/>
                    <a:gd name="connsiteX77" fmla="*/ 422638 w 1206591"/>
                    <a:gd name="connsiteY77" fmla="*/ 1304021 h 2752820"/>
                    <a:gd name="connsiteX78" fmla="*/ 406404 w 1206591"/>
                    <a:gd name="connsiteY78" fmla="*/ 1304021 h 2752820"/>
                    <a:gd name="connsiteX79" fmla="*/ 348049 w 1206591"/>
                    <a:gd name="connsiteY79" fmla="*/ 1311041 h 2752820"/>
                    <a:gd name="connsiteX80" fmla="*/ 334447 w 1206591"/>
                    <a:gd name="connsiteY80" fmla="*/ 1296343 h 2752820"/>
                    <a:gd name="connsiteX81" fmla="*/ 338177 w 1206591"/>
                    <a:gd name="connsiteY81" fmla="*/ 1192356 h 2752820"/>
                    <a:gd name="connsiteX82" fmla="*/ 339472 w 1206591"/>
                    <a:gd name="connsiteY82" fmla="*/ 1143444 h 2752820"/>
                    <a:gd name="connsiteX83" fmla="*/ 265987 w 1206591"/>
                    <a:gd name="connsiteY83" fmla="*/ 1103558 h 2752820"/>
                    <a:gd name="connsiteX84" fmla="*/ 0 w 1206591"/>
                    <a:gd name="connsiteY84" fmla="*/ 603296 h 2752820"/>
                    <a:gd name="connsiteX85" fmla="*/ 47410 w 1206591"/>
                    <a:gd name="connsiteY85" fmla="*/ 368466 h 2752820"/>
                    <a:gd name="connsiteX0" fmla="*/ 47410 w 1206591"/>
                    <a:gd name="connsiteY0" fmla="*/ 368466 h 2752820"/>
                    <a:gd name="connsiteX1" fmla="*/ 603296 w 1206591"/>
                    <a:gd name="connsiteY1" fmla="*/ 0 h 2752820"/>
                    <a:gd name="connsiteX2" fmla="*/ 838125 w 1206591"/>
                    <a:gd name="connsiteY2" fmla="*/ 47410 h 2752820"/>
                    <a:gd name="connsiteX3" fmla="*/ 888365 w 1206591"/>
                    <a:gd name="connsiteY3" fmla="*/ 66990 h 2752820"/>
                    <a:gd name="connsiteX4" fmla="*/ 665356 w 1206591"/>
                    <a:gd name="connsiteY4" fmla="*/ 176012 h 2752820"/>
                    <a:gd name="connsiteX5" fmla="*/ 603296 w 1206591"/>
                    <a:gd name="connsiteY5" fmla="*/ 163483 h 2752820"/>
                    <a:gd name="connsiteX6" fmla="*/ 443859 w 1206591"/>
                    <a:gd name="connsiteY6" fmla="*/ 322919 h 2752820"/>
                    <a:gd name="connsiteX7" fmla="*/ 603296 w 1206591"/>
                    <a:gd name="connsiteY7" fmla="*/ 482356 h 2752820"/>
                    <a:gd name="connsiteX8" fmla="*/ 762733 w 1206591"/>
                    <a:gd name="connsiteY8" fmla="*/ 322919 h 2752820"/>
                    <a:gd name="connsiteX9" fmla="*/ 753492 w 1206591"/>
                    <a:gd name="connsiteY9" fmla="*/ 277148 h 2752820"/>
                    <a:gd name="connsiteX10" fmla="*/ 785562 w 1206591"/>
                    <a:gd name="connsiteY10" fmla="*/ 266006 h 2752820"/>
                    <a:gd name="connsiteX11" fmla="*/ 963332 w 1206591"/>
                    <a:gd name="connsiteY11" fmla="*/ 139490 h 2752820"/>
                    <a:gd name="connsiteX12" fmla="*/ 972122 w 1206591"/>
                    <a:gd name="connsiteY12" fmla="*/ 129039 h 2752820"/>
                    <a:gd name="connsiteX13" fmla="*/ 1029890 w 1206591"/>
                    <a:gd name="connsiteY13" fmla="*/ 176701 h 2752820"/>
                    <a:gd name="connsiteX14" fmla="*/ 1206591 w 1206591"/>
                    <a:gd name="connsiteY14" fmla="*/ 603295 h 2752820"/>
                    <a:gd name="connsiteX15" fmla="*/ 940604 w 1206591"/>
                    <a:gd name="connsiteY15" fmla="*/ 1103558 h 2752820"/>
                    <a:gd name="connsiteX16" fmla="*/ 857670 w 1206591"/>
                    <a:gd name="connsiteY16" fmla="*/ 1148573 h 2752820"/>
                    <a:gd name="connsiteX17" fmla="*/ 857670 w 1206591"/>
                    <a:gd name="connsiteY17" fmla="*/ 2588272 h 2752820"/>
                    <a:gd name="connsiteX18" fmla="*/ 858547 w 1206591"/>
                    <a:gd name="connsiteY18" fmla="*/ 2599022 h 2752820"/>
                    <a:gd name="connsiteX19" fmla="*/ 853940 w 1206591"/>
                    <a:gd name="connsiteY19" fmla="*/ 2605603 h 2752820"/>
                    <a:gd name="connsiteX20" fmla="*/ 792294 w 1206591"/>
                    <a:gd name="connsiteY20" fmla="*/ 2666372 h 2752820"/>
                    <a:gd name="connsiteX21" fmla="*/ 755438 w 1206591"/>
                    <a:gd name="connsiteY21" fmla="*/ 2700595 h 2752820"/>
                    <a:gd name="connsiteX22" fmla="*/ 754564 w 1206591"/>
                    <a:gd name="connsiteY22" fmla="*/ 2698017 h 2752820"/>
                    <a:gd name="connsiteX23" fmla="*/ 754561 w 1206591"/>
                    <a:gd name="connsiteY23" fmla="*/ 2698182 h 2752820"/>
                    <a:gd name="connsiteX24" fmla="*/ 753684 w 1206591"/>
                    <a:gd name="connsiteY24" fmla="*/ 2702350 h 2752820"/>
                    <a:gd name="connsiteX25" fmla="*/ 710465 w 1206591"/>
                    <a:gd name="connsiteY25" fmla="*/ 2745349 h 2752820"/>
                    <a:gd name="connsiteX26" fmla="*/ 691819 w 1206591"/>
                    <a:gd name="connsiteY26" fmla="*/ 2752808 h 2752820"/>
                    <a:gd name="connsiteX27" fmla="*/ 657156 w 1206591"/>
                    <a:gd name="connsiteY27" fmla="*/ 2751930 h 2752820"/>
                    <a:gd name="connsiteX28" fmla="*/ 657149 w 1206591"/>
                    <a:gd name="connsiteY28" fmla="*/ 2747739 h 2752820"/>
                    <a:gd name="connsiteX29" fmla="*/ 655130 w 1206591"/>
                    <a:gd name="connsiteY29" fmla="*/ 2750014 h 2752820"/>
                    <a:gd name="connsiteX30" fmla="*/ 650136 w 1206591"/>
                    <a:gd name="connsiteY30" fmla="*/ 2750394 h 2752820"/>
                    <a:gd name="connsiteX31" fmla="*/ 636754 w 1206591"/>
                    <a:gd name="connsiteY31" fmla="*/ 2739645 h 2752820"/>
                    <a:gd name="connsiteX32" fmla="*/ 464979 w 1206591"/>
                    <a:gd name="connsiteY32" fmla="*/ 2536499 h 2752820"/>
                    <a:gd name="connsiteX33" fmla="*/ 466076 w 1206591"/>
                    <a:gd name="connsiteY33" fmla="*/ 2504909 h 2752820"/>
                    <a:gd name="connsiteX34" fmla="*/ 512365 w 1206591"/>
                    <a:gd name="connsiteY34" fmla="*/ 2450064 h 2752820"/>
                    <a:gd name="connsiteX35" fmla="*/ 513461 w 1206591"/>
                    <a:gd name="connsiteY35" fmla="*/ 2414304 h 2752820"/>
                    <a:gd name="connsiteX36" fmla="*/ 542639 w 1206591"/>
                    <a:gd name="connsiteY36" fmla="*/ 2356607 h 2752820"/>
                    <a:gd name="connsiteX37" fmla="*/ 640702 w 1206591"/>
                    <a:gd name="connsiteY37" fmla="*/ 2281579 h 2752820"/>
                    <a:gd name="connsiteX38" fmla="*/ 657156 w 1206591"/>
                    <a:gd name="connsiteY38" fmla="*/ 2261176 h 2752820"/>
                    <a:gd name="connsiteX39" fmla="*/ 659999 w 1206591"/>
                    <a:gd name="connsiteY39" fmla="*/ 2263633 h 2752820"/>
                    <a:gd name="connsiteX40" fmla="*/ 660008 w 1206591"/>
                    <a:gd name="connsiteY40" fmla="*/ 2261397 h 2752820"/>
                    <a:gd name="connsiteX41" fmla="*/ 661105 w 1206591"/>
                    <a:gd name="connsiteY41" fmla="*/ 2256131 h 2752820"/>
                    <a:gd name="connsiteX42" fmla="*/ 679094 w 1206591"/>
                    <a:gd name="connsiteY42" fmla="*/ 2199970 h 2752820"/>
                    <a:gd name="connsiteX43" fmla="*/ 680850 w 1206591"/>
                    <a:gd name="connsiteY43" fmla="*/ 2198873 h 2752820"/>
                    <a:gd name="connsiteX44" fmla="*/ 678655 w 1206591"/>
                    <a:gd name="connsiteY44" fmla="*/ 2173205 h 2752820"/>
                    <a:gd name="connsiteX45" fmla="*/ 663080 w 1206591"/>
                    <a:gd name="connsiteY45" fmla="*/ 2157849 h 2752820"/>
                    <a:gd name="connsiteX46" fmla="*/ 663299 w 1206591"/>
                    <a:gd name="connsiteY46" fmla="*/ 2156313 h 2752820"/>
                    <a:gd name="connsiteX47" fmla="*/ 663807 w 1206591"/>
                    <a:gd name="connsiteY47" fmla="*/ 2151829 h 2752820"/>
                    <a:gd name="connsiteX48" fmla="*/ 661325 w 1206591"/>
                    <a:gd name="connsiteY48" fmla="*/ 2155874 h 2752820"/>
                    <a:gd name="connsiteX49" fmla="*/ 582567 w 1206591"/>
                    <a:gd name="connsiteY49" fmla="*/ 2089402 h 2752820"/>
                    <a:gd name="connsiteX50" fmla="*/ 580320 w 1206591"/>
                    <a:gd name="connsiteY50" fmla="*/ 2084265 h 2752820"/>
                    <a:gd name="connsiteX51" fmla="*/ 577741 w 1206591"/>
                    <a:gd name="connsiteY51" fmla="*/ 2085892 h 2752820"/>
                    <a:gd name="connsiteX52" fmla="*/ 573792 w 1206591"/>
                    <a:gd name="connsiteY52" fmla="*/ 2083259 h 2752820"/>
                    <a:gd name="connsiteX53" fmla="*/ 559971 w 1206591"/>
                    <a:gd name="connsiteY53" fmla="*/ 2070316 h 2752820"/>
                    <a:gd name="connsiteX54" fmla="*/ 575766 w 1206591"/>
                    <a:gd name="connsiteY54" fmla="*/ 2039603 h 2752820"/>
                    <a:gd name="connsiteX55" fmla="*/ 581909 w 1206591"/>
                    <a:gd name="connsiteY55" fmla="*/ 2023588 h 2752820"/>
                    <a:gd name="connsiteX56" fmla="*/ 575985 w 1206591"/>
                    <a:gd name="connsiteY56" fmla="*/ 1975544 h 2752820"/>
                    <a:gd name="connsiteX57" fmla="*/ 527502 w 1206591"/>
                    <a:gd name="connsiteY57" fmla="*/ 1912143 h 2752820"/>
                    <a:gd name="connsiteX58" fmla="*/ 527502 w 1206591"/>
                    <a:gd name="connsiteY58" fmla="*/ 1883623 h 2752820"/>
                    <a:gd name="connsiteX59" fmla="*/ 562164 w 1206591"/>
                    <a:gd name="connsiteY59" fmla="*/ 1814738 h 2752820"/>
                    <a:gd name="connsiteX60" fmla="*/ 543736 w 1206591"/>
                    <a:gd name="connsiteY60" fmla="*/ 1755725 h 2752820"/>
                    <a:gd name="connsiteX61" fmla="*/ 532109 w 1206591"/>
                    <a:gd name="connsiteY61" fmla="*/ 1738613 h 2752820"/>
                    <a:gd name="connsiteX62" fmla="*/ 534084 w 1206591"/>
                    <a:gd name="connsiteY62" fmla="*/ 1736639 h 2752820"/>
                    <a:gd name="connsiteX63" fmla="*/ 534303 w 1206591"/>
                    <a:gd name="connsiteY63" fmla="*/ 1736200 h 2752820"/>
                    <a:gd name="connsiteX64" fmla="*/ 532109 w 1206591"/>
                    <a:gd name="connsiteY64" fmla="*/ 1735103 h 2752820"/>
                    <a:gd name="connsiteX65" fmla="*/ 501616 w 1206591"/>
                    <a:gd name="connsiteY65" fmla="*/ 1709874 h 2752820"/>
                    <a:gd name="connsiteX66" fmla="*/ 497008 w 1206591"/>
                    <a:gd name="connsiteY66" fmla="*/ 1687937 h 2752820"/>
                    <a:gd name="connsiteX67" fmla="*/ 531808 w 1206591"/>
                    <a:gd name="connsiteY67" fmla="*/ 1626564 h 2752820"/>
                    <a:gd name="connsiteX68" fmla="*/ 531822 w 1206591"/>
                    <a:gd name="connsiteY68" fmla="*/ 1627420 h 2752820"/>
                    <a:gd name="connsiteX69" fmla="*/ 532461 w 1206591"/>
                    <a:gd name="connsiteY69" fmla="*/ 1563126 h 2752820"/>
                    <a:gd name="connsiteX70" fmla="*/ 473315 w 1206591"/>
                    <a:gd name="connsiteY70" fmla="*/ 1495321 h 2752820"/>
                    <a:gd name="connsiteX71" fmla="*/ 471341 w 1206591"/>
                    <a:gd name="connsiteY71" fmla="*/ 1476454 h 2752820"/>
                    <a:gd name="connsiteX72" fmla="*/ 495253 w 1206591"/>
                    <a:gd name="connsiteY72" fmla="*/ 1441134 h 2752820"/>
                    <a:gd name="connsiteX73" fmla="*/ 463662 w 1206591"/>
                    <a:gd name="connsiteY73" fmla="*/ 1350750 h 2752820"/>
                    <a:gd name="connsiteX74" fmla="*/ 449841 w 1206591"/>
                    <a:gd name="connsiteY74" fmla="*/ 1348117 h 2752820"/>
                    <a:gd name="connsiteX75" fmla="*/ 437556 w 1206591"/>
                    <a:gd name="connsiteY75" fmla="*/ 1335173 h 2752820"/>
                    <a:gd name="connsiteX76" fmla="*/ 438214 w 1206591"/>
                    <a:gd name="connsiteY76" fmla="*/ 1311042 h 2752820"/>
                    <a:gd name="connsiteX77" fmla="*/ 422638 w 1206591"/>
                    <a:gd name="connsiteY77" fmla="*/ 1304021 h 2752820"/>
                    <a:gd name="connsiteX78" fmla="*/ 406404 w 1206591"/>
                    <a:gd name="connsiteY78" fmla="*/ 1304021 h 2752820"/>
                    <a:gd name="connsiteX79" fmla="*/ 348049 w 1206591"/>
                    <a:gd name="connsiteY79" fmla="*/ 1311041 h 2752820"/>
                    <a:gd name="connsiteX80" fmla="*/ 334447 w 1206591"/>
                    <a:gd name="connsiteY80" fmla="*/ 1296343 h 2752820"/>
                    <a:gd name="connsiteX81" fmla="*/ 338177 w 1206591"/>
                    <a:gd name="connsiteY81" fmla="*/ 1192356 h 2752820"/>
                    <a:gd name="connsiteX82" fmla="*/ 339472 w 1206591"/>
                    <a:gd name="connsiteY82" fmla="*/ 1143444 h 2752820"/>
                    <a:gd name="connsiteX83" fmla="*/ 265987 w 1206591"/>
                    <a:gd name="connsiteY83" fmla="*/ 1103558 h 2752820"/>
                    <a:gd name="connsiteX84" fmla="*/ 0 w 1206591"/>
                    <a:gd name="connsiteY84" fmla="*/ 603296 h 2752820"/>
                    <a:gd name="connsiteX85" fmla="*/ 47410 w 1206591"/>
                    <a:gd name="connsiteY85" fmla="*/ 368466 h 2752820"/>
                    <a:gd name="connsiteX0" fmla="*/ 47410 w 1206591"/>
                    <a:gd name="connsiteY0" fmla="*/ 368466 h 2752820"/>
                    <a:gd name="connsiteX1" fmla="*/ 603296 w 1206591"/>
                    <a:gd name="connsiteY1" fmla="*/ 0 h 2752820"/>
                    <a:gd name="connsiteX2" fmla="*/ 838125 w 1206591"/>
                    <a:gd name="connsiteY2" fmla="*/ 47410 h 2752820"/>
                    <a:gd name="connsiteX3" fmla="*/ 877680 w 1206591"/>
                    <a:gd name="connsiteY3" fmla="*/ 72242 h 2752820"/>
                    <a:gd name="connsiteX4" fmla="*/ 665356 w 1206591"/>
                    <a:gd name="connsiteY4" fmla="*/ 176012 h 2752820"/>
                    <a:gd name="connsiteX5" fmla="*/ 603296 w 1206591"/>
                    <a:gd name="connsiteY5" fmla="*/ 163483 h 2752820"/>
                    <a:gd name="connsiteX6" fmla="*/ 443859 w 1206591"/>
                    <a:gd name="connsiteY6" fmla="*/ 322919 h 2752820"/>
                    <a:gd name="connsiteX7" fmla="*/ 603296 w 1206591"/>
                    <a:gd name="connsiteY7" fmla="*/ 482356 h 2752820"/>
                    <a:gd name="connsiteX8" fmla="*/ 762733 w 1206591"/>
                    <a:gd name="connsiteY8" fmla="*/ 322919 h 2752820"/>
                    <a:gd name="connsiteX9" fmla="*/ 753492 w 1206591"/>
                    <a:gd name="connsiteY9" fmla="*/ 277148 h 2752820"/>
                    <a:gd name="connsiteX10" fmla="*/ 785562 w 1206591"/>
                    <a:gd name="connsiteY10" fmla="*/ 266006 h 2752820"/>
                    <a:gd name="connsiteX11" fmla="*/ 963332 w 1206591"/>
                    <a:gd name="connsiteY11" fmla="*/ 139490 h 2752820"/>
                    <a:gd name="connsiteX12" fmla="*/ 972122 w 1206591"/>
                    <a:gd name="connsiteY12" fmla="*/ 129039 h 2752820"/>
                    <a:gd name="connsiteX13" fmla="*/ 1029890 w 1206591"/>
                    <a:gd name="connsiteY13" fmla="*/ 176701 h 2752820"/>
                    <a:gd name="connsiteX14" fmla="*/ 1206591 w 1206591"/>
                    <a:gd name="connsiteY14" fmla="*/ 603295 h 2752820"/>
                    <a:gd name="connsiteX15" fmla="*/ 940604 w 1206591"/>
                    <a:gd name="connsiteY15" fmla="*/ 1103558 h 2752820"/>
                    <a:gd name="connsiteX16" fmla="*/ 857670 w 1206591"/>
                    <a:gd name="connsiteY16" fmla="*/ 1148573 h 2752820"/>
                    <a:gd name="connsiteX17" fmla="*/ 857670 w 1206591"/>
                    <a:gd name="connsiteY17" fmla="*/ 2588272 h 2752820"/>
                    <a:gd name="connsiteX18" fmla="*/ 858547 w 1206591"/>
                    <a:gd name="connsiteY18" fmla="*/ 2599022 h 2752820"/>
                    <a:gd name="connsiteX19" fmla="*/ 853940 w 1206591"/>
                    <a:gd name="connsiteY19" fmla="*/ 2605603 h 2752820"/>
                    <a:gd name="connsiteX20" fmla="*/ 792294 w 1206591"/>
                    <a:gd name="connsiteY20" fmla="*/ 2666372 h 2752820"/>
                    <a:gd name="connsiteX21" fmla="*/ 755438 w 1206591"/>
                    <a:gd name="connsiteY21" fmla="*/ 2700595 h 2752820"/>
                    <a:gd name="connsiteX22" fmla="*/ 754564 w 1206591"/>
                    <a:gd name="connsiteY22" fmla="*/ 2698017 h 2752820"/>
                    <a:gd name="connsiteX23" fmla="*/ 754561 w 1206591"/>
                    <a:gd name="connsiteY23" fmla="*/ 2698182 h 2752820"/>
                    <a:gd name="connsiteX24" fmla="*/ 753684 w 1206591"/>
                    <a:gd name="connsiteY24" fmla="*/ 2702350 h 2752820"/>
                    <a:gd name="connsiteX25" fmla="*/ 710465 w 1206591"/>
                    <a:gd name="connsiteY25" fmla="*/ 2745349 h 2752820"/>
                    <a:gd name="connsiteX26" fmla="*/ 691819 w 1206591"/>
                    <a:gd name="connsiteY26" fmla="*/ 2752808 h 2752820"/>
                    <a:gd name="connsiteX27" fmla="*/ 657156 w 1206591"/>
                    <a:gd name="connsiteY27" fmla="*/ 2751930 h 2752820"/>
                    <a:gd name="connsiteX28" fmla="*/ 657149 w 1206591"/>
                    <a:gd name="connsiteY28" fmla="*/ 2747739 h 2752820"/>
                    <a:gd name="connsiteX29" fmla="*/ 655130 w 1206591"/>
                    <a:gd name="connsiteY29" fmla="*/ 2750014 h 2752820"/>
                    <a:gd name="connsiteX30" fmla="*/ 650136 w 1206591"/>
                    <a:gd name="connsiteY30" fmla="*/ 2750394 h 2752820"/>
                    <a:gd name="connsiteX31" fmla="*/ 636754 w 1206591"/>
                    <a:gd name="connsiteY31" fmla="*/ 2739645 h 2752820"/>
                    <a:gd name="connsiteX32" fmla="*/ 464979 w 1206591"/>
                    <a:gd name="connsiteY32" fmla="*/ 2536499 h 2752820"/>
                    <a:gd name="connsiteX33" fmla="*/ 466076 w 1206591"/>
                    <a:gd name="connsiteY33" fmla="*/ 2504909 h 2752820"/>
                    <a:gd name="connsiteX34" fmla="*/ 512365 w 1206591"/>
                    <a:gd name="connsiteY34" fmla="*/ 2450064 h 2752820"/>
                    <a:gd name="connsiteX35" fmla="*/ 513461 w 1206591"/>
                    <a:gd name="connsiteY35" fmla="*/ 2414304 h 2752820"/>
                    <a:gd name="connsiteX36" fmla="*/ 542639 w 1206591"/>
                    <a:gd name="connsiteY36" fmla="*/ 2356607 h 2752820"/>
                    <a:gd name="connsiteX37" fmla="*/ 640702 w 1206591"/>
                    <a:gd name="connsiteY37" fmla="*/ 2281579 h 2752820"/>
                    <a:gd name="connsiteX38" fmla="*/ 657156 w 1206591"/>
                    <a:gd name="connsiteY38" fmla="*/ 2261176 h 2752820"/>
                    <a:gd name="connsiteX39" fmla="*/ 659999 w 1206591"/>
                    <a:gd name="connsiteY39" fmla="*/ 2263633 h 2752820"/>
                    <a:gd name="connsiteX40" fmla="*/ 660008 w 1206591"/>
                    <a:gd name="connsiteY40" fmla="*/ 2261397 h 2752820"/>
                    <a:gd name="connsiteX41" fmla="*/ 661105 w 1206591"/>
                    <a:gd name="connsiteY41" fmla="*/ 2256131 h 2752820"/>
                    <a:gd name="connsiteX42" fmla="*/ 679094 w 1206591"/>
                    <a:gd name="connsiteY42" fmla="*/ 2199970 h 2752820"/>
                    <a:gd name="connsiteX43" fmla="*/ 680850 w 1206591"/>
                    <a:gd name="connsiteY43" fmla="*/ 2198873 h 2752820"/>
                    <a:gd name="connsiteX44" fmla="*/ 678655 w 1206591"/>
                    <a:gd name="connsiteY44" fmla="*/ 2173205 h 2752820"/>
                    <a:gd name="connsiteX45" fmla="*/ 663080 w 1206591"/>
                    <a:gd name="connsiteY45" fmla="*/ 2157849 h 2752820"/>
                    <a:gd name="connsiteX46" fmla="*/ 663299 w 1206591"/>
                    <a:gd name="connsiteY46" fmla="*/ 2156313 h 2752820"/>
                    <a:gd name="connsiteX47" fmla="*/ 663807 w 1206591"/>
                    <a:gd name="connsiteY47" fmla="*/ 2151829 h 2752820"/>
                    <a:gd name="connsiteX48" fmla="*/ 661325 w 1206591"/>
                    <a:gd name="connsiteY48" fmla="*/ 2155874 h 2752820"/>
                    <a:gd name="connsiteX49" fmla="*/ 582567 w 1206591"/>
                    <a:gd name="connsiteY49" fmla="*/ 2089402 h 2752820"/>
                    <a:gd name="connsiteX50" fmla="*/ 580320 w 1206591"/>
                    <a:gd name="connsiteY50" fmla="*/ 2084265 h 2752820"/>
                    <a:gd name="connsiteX51" fmla="*/ 577741 w 1206591"/>
                    <a:gd name="connsiteY51" fmla="*/ 2085892 h 2752820"/>
                    <a:gd name="connsiteX52" fmla="*/ 573792 w 1206591"/>
                    <a:gd name="connsiteY52" fmla="*/ 2083259 h 2752820"/>
                    <a:gd name="connsiteX53" fmla="*/ 559971 w 1206591"/>
                    <a:gd name="connsiteY53" fmla="*/ 2070316 h 2752820"/>
                    <a:gd name="connsiteX54" fmla="*/ 575766 w 1206591"/>
                    <a:gd name="connsiteY54" fmla="*/ 2039603 h 2752820"/>
                    <a:gd name="connsiteX55" fmla="*/ 581909 w 1206591"/>
                    <a:gd name="connsiteY55" fmla="*/ 2023588 h 2752820"/>
                    <a:gd name="connsiteX56" fmla="*/ 575985 w 1206591"/>
                    <a:gd name="connsiteY56" fmla="*/ 1975544 h 2752820"/>
                    <a:gd name="connsiteX57" fmla="*/ 527502 w 1206591"/>
                    <a:gd name="connsiteY57" fmla="*/ 1912143 h 2752820"/>
                    <a:gd name="connsiteX58" fmla="*/ 527502 w 1206591"/>
                    <a:gd name="connsiteY58" fmla="*/ 1883623 h 2752820"/>
                    <a:gd name="connsiteX59" fmla="*/ 562164 w 1206591"/>
                    <a:gd name="connsiteY59" fmla="*/ 1814738 h 2752820"/>
                    <a:gd name="connsiteX60" fmla="*/ 543736 w 1206591"/>
                    <a:gd name="connsiteY60" fmla="*/ 1755725 h 2752820"/>
                    <a:gd name="connsiteX61" fmla="*/ 532109 w 1206591"/>
                    <a:gd name="connsiteY61" fmla="*/ 1738613 h 2752820"/>
                    <a:gd name="connsiteX62" fmla="*/ 534084 w 1206591"/>
                    <a:gd name="connsiteY62" fmla="*/ 1736639 h 2752820"/>
                    <a:gd name="connsiteX63" fmla="*/ 534303 w 1206591"/>
                    <a:gd name="connsiteY63" fmla="*/ 1736200 h 2752820"/>
                    <a:gd name="connsiteX64" fmla="*/ 532109 w 1206591"/>
                    <a:gd name="connsiteY64" fmla="*/ 1735103 h 2752820"/>
                    <a:gd name="connsiteX65" fmla="*/ 501616 w 1206591"/>
                    <a:gd name="connsiteY65" fmla="*/ 1709874 h 2752820"/>
                    <a:gd name="connsiteX66" fmla="*/ 497008 w 1206591"/>
                    <a:gd name="connsiteY66" fmla="*/ 1687937 h 2752820"/>
                    <a:gd name="connsiteX67" fmla="*/ 531808 w 1206591"/>
                    <a:gd name="connsiteY67" fmla="*/ 1626564 h 2752820"/>
                    <a:gd name="connsiteX68" fmla="*/ 531822 w 1206591"/>
                    <a:gd name="connsiteY68" fmla="*/ 1627420 h 2752820"/>
                    <a:gd name="connsiteX69" fmla="*/ 532461 w 1206591"/>
                    <a:gd name="connsiteY69" fmla="*/ 1563126 h 2752820"/>
                    <a:gd name="connsiteX70" fmla="*/ 473315 w 1206591"/>
                    <a:gd name="connsiteY70" fmla="*/ 1495321 h 2752820"/>
                    <a:gd name="connsiteX71" fmla="*/ 471341 w 1206591"/>
                    <a:gd name="connsiteY71" fmla="*/ 1476454 h 2752820"/>
                    <a:gd name="connsiteX72" fmla="*/ 495253 w 1206591"/>
                    <a:gd name="connsiteY72" fmla="*/ 1441134 h 2752820"/>
                    <a:gd name="connsiteX73" fmla="*/ 463662 w 1206591"/>
                    <a:gd name="connsiteY73" fmla="*/ 1350750 h 2752820"/>
                    <a:gd name="connsiteX74" fmla="*/ 449841 w 1206591"/>
                    <a:gd name="connsiteY74" fmla="*/ 1348117 h 2752820"/>
                    <a:gd name="connsiteX75" fmla="*/ 437556 w 1206591"/>
                    <a:gd name="connsiteY75" fmla="*/ 1335173 h 2752820"/>
                    <a:gd name="connsiteX76" fmla="*/ 438214 w 1206591"/>
                    <a:gd name="connsiteY76" fmla="*/ 1311042 h 2752820"/>
                    <a:gd name="connsiteX77" fmla="*/ 422638 w 1206591"/>
                    <a:gd name="connsiteY77" fmla="*/ 1304021 h 2752820"/>
                    <a:gd name="connsiteX78" fmla="*/ 406404 w 1206591"/>
                    <a:gd name="connsiteY78" fmla="*/ 1304021 h 2752820"/>
                    <a:gd name="connsiteX79" fmla="*/ 348049 w 1206591"/>
                    <a:gd name="connsiteY79" fmla="*/ 1311041 h 2752820"/>
                    <a:gd name="connsiteX80" fmla="*/ 334447 w 1206591"/>
                    <a:gd name="connsiteY80" fmla="*/ 1296343 h 2752820"/>
                    <a:gd name="connsiteX81" fmla="*/ 338177 w 1206591"/>
                    <a:gd name="connsiteY81" fmla="*/ 1192356 h 2752820"/>
                    <a:gd name="connsiteX82" fmla="*/ 339472 w 1206591"/>
                    <a:gd name="connsiteY82" fmla="*/ 1143444 h 2752820"/>
                    <a:gd name="connsiteX83" fmla="*/ 265987 w 1206591"/>
                    <a:gd name="connsiteY83" fmla="*/ 1103558 h 2752820"/>
                    <a:gd name="connsiteX84" fmla="*/ 0 w 1206591"/>
                    <a:gd name="connsiteY84" fmla="*/ 603296 h 2752820"/>
                    <a:gd name="connsiteX85" fmla="*/ 47410 w 1206591"/>
                    <a:gd name="connsiteY85" fmla="*/ 368466 h 2752820"/>
                    <a:gd name="connsiteX0" fmla="*/ 47410 w 1206591"/>
                    <a:gd name="connsiteY0" fmla="*/ 368466 h 2752820"/>
                    <a:gd name="connsiteX1" fmla="*/ 603296 w 1206591"/>
                    <a:gd name="connsiteY1" fmla="*/ 0 h 2752820"/>
                    <a:gd name="connsiteX2" fmla="*/ 838125 w 1206591"/>
                    <a:gd name="connsiteY2" fmla="*/ 47410 h 2752820"/>
                    <a:gd name="connsiteX3" fmla="*/ 877680 w 1206591"/>
                    <a:gd name="connsiteY3" fmla="*/ 72242 h 2752820"/>
                    <a:gd name="connsiteX4" fmla="*/ 665356 w 1206591"/>
                    <a:gd name="connsiteY4" fmla="*/ 176012 h 2752820"/>
                    <a:gd name="connsiteX5" fmla="*/ 603296 w 1206591"/>
                    <a:gd name="connsiteY5" fmla="*/ 163483 h 2752820"/>
                    <a:gd name="connsiteX6" fmla="*/ 443859 w 1206591"/>
                    <a:gd name="connsiteY6" fmla="*/ 322919 h 2752820"/>
                    <a:gd name="connsiteX7" fmla="*/ 603296 w 1206591"/>
                    <a:gd name="connsiteY7" fmla="*/ 482356 h 2752820"/>
                    <a:gd name="connsiteX8" fmla="*/ 762733 w 1206591"/>
                    <a:gd name="connsiteY8" fmla="*/ 322919 h 2752820"/>
                    <a:gd name="connsiteX9" fmla="*/ 753492 w 1206591"/>
                    <a:gd name="connsiteY9" fmla="*/ 277148 h 2752820"/>
                    <a:gd name="connsiteX10" fmla="*/ 785562 w 1206591"/>
                    <a:gd name="connsiteY10" fmla="*/ 266006 h 2752820"/>
                    <a:gd name="connsiteX11" fmla="*/ 941063 w 1206591"/>
                    <a:gd name="connsiteY11" fmla="*/ 125493 h 2752820"/>
                    <a:gd name="connsiteX12" fmla="*/ 972122 w 1206591"/>
                    <a:gd name="connsiteY12" fmla="*/ 129039 h 2752820"/>
                    <a:gd name="connsiteX13" fmla="*/ 1029890 w 1206591"/>
                    <a:gd name="connsiteY13" fmla="*/ 176701 h 2752820"/>
                    <a:gd name="connsiteX14" fmla="*/ 1206591 w 1206591"/>
                    <a:gd name="connsiteY14" fmla="*/ 603295 h 2752820"/>
                    <a:gd name="connsiteX15" fmla="*/ 940604 w 1206591"/>
                    <a:gd name="connsiteY15" fmla="*/ 1103558 h 2752820"/>
                    <a:gd name="connsiteX16" fmla="*/ 857670 w 1206591"/>
                    <a:gd name="connsiteY16" fmla="*/ 1148573 h 2752820"/>
                    <a:gd name="connsiteX17" fmla="*/ 857670 w 1206591"/>
                    <a:gd name="connsiteY17" fmla="*/ 2588272 h 2752820"/>
                    <a:gd name="connsiteX18" fmla="*/ 858547 w 1206591"/>
                    <a:gd name="connsiteY18" fmla="*/ 2599022 h 2752820"/>
                    <a:gd name="connsiteX19" fmla="*/ 853940 w 1206591"/>
                    <a:gd name="connsiteY19" fmla="*/ 2605603 h 2752820"/>
                    <a:gd name="connsiteX20" fmla="*/ 792294 w 1206591"/>
                    <a:gd name="connsiteY20" fmla="*/ 2666372 h 2752820"/>
                    <a:gd name="connsiteX21" fmla="*/ 755438 w 1206591"/>
                    <a:gd name="connsiteY21" fmla="*/ 2700595 h 2752820"/>
                    <a:gd name="connsiteX22" fmla="*/ 754564 w 1206591"/>
                    <a:gd name="connsiteY22" fmla="*/ 2698017 h 2752820"/>
                    <a:gd name="connsiteX23" fmla="*/ 754561 w 1206591"/>
                    <a:gd name="connsiteY23" fmla="*/ 2698182 h 2752820"/>
                    <a:gd name="connsiteX24" fmla="*/ 753684 w 1206591"/>
                    <a:gd name="connsiteY24" fmla="*/ 2702350 h 2752820"/>
                    <a:gd name="connsiteX25" fmla="*/ 710465 w 1206591"/>
                    <a:gd name="connsiteY25" fmla="*/ 2745349 h 2752820"/>
                    <a:gd name="connsiteX26" fmla="*/ 691819 w 1206591"/>
                    <a:gd name="connsiteY26" fmla="*/ 2752808 h 2752820"/>
                    <a:gd name="connsiteX27" fmla="*/ 657156 w 1206591"/>
                    <a:gd name="connsiteY27" fmla="*/ 2751930 h 2752820"/>
                    <a:gd name="connsiteX28" fmla="*/ 657149 w 1206591"/>
                    <a:gd name="connsiteY28" fmla="*/ 2747739 h 2752820"/>
                    <a:gd name="connsiteX29" fmla="*/ 655130 w 1206591"/>
                    <a:gd name="connsiteY29" fmla="*/ 2750014 h 2752820"/>
                    <a:gd name="connsiteX30" fmla="*/ 650136 w 1206591"/>
                    <a:gd name="connsiteY30" fmla="*/ 2750394 h 2752820"/>
                    <a:gd name="connsiteX31" fmla="*/ 636754 w 1206591"/>
                    <a:gd name="connsiteY31" fmla="*/ 2739645 h 2752820"/>
                    <a:gd name="connsiteX32" fmla="*/ 464979 w 1206591"/>
                    <a:gd name="connsiteY32" fmla="*/ 2536499 h 2752820"/>
                    <a:gd name="connsiteX33" fmla="*/ 466076 w 1206591"/>
                    <a:gd name="connsiteY33" fmla="*/ 2504909 h 2752820"/>
                    <a:gd name="connsiteX34" fmla="*/ 512365 w 1206591"/>
                    <a:gd name="connsiteY34" fmla="*/ 2450064 h 2752820"/>
                    <a:gd name="connsiteX35" fmla="*/ 513461 w 1206591"/>
                    <a:gd name="connsiteY35" fmla="*/ 2414304 h 2752820"/>
                    <a:gd name="connsiteX36" fmla="*/ 542639 w 1206591"/>
                    <a:gd name="connsiteY36" fmla="*/ 2356607 h 2752820"/>
                    <a:gd name="connsiteX37" fmla="*/ 640702 w 1206591"/>
                    <a:gd name="connsiteY37" fmla="*/ 2281579 h 2752820"/>
                    <a:gd name="connsiteX38" fmla="*/ 657156 w 1206591"/>
                    <a:gd name="connsiteY38" fmla="*/ 2261176 h 2752820"/>
                    <a:gd name="connsiteX39" fmla="*/ 659999 w 1206591"/>
                    <a:gd name="connsiteY39" fmla="*/ 2263633 h 2752820"/>
                    <a:gd name="connsiteX40" fmla="*/ 660008 w 1206591"/>
                    <a:gd name="connsiteY40" fmla="*/ 2261397 h 2752820"/>
                    <a:gd name="connsiteX41" fmla="*/ 661105 w 1206591"/>
                    <a:gd name="connsiteY41" fmla="*/ 2256131 h 2752820"/>
                    <a:gd name="connsiteX42" fmla="*/ 679094 w 1206591"/>
                    <a:gd name="connsiteY42" fmla="*/ 2199970 h 2752820"/>
                    <a:gd name="connsiteX43" fmla="*/ 680850 w 1206591"/>
                    <a:gd name="connsiteY43" fmla="*/ 2198873 h 2752820"/>
                    <a:gd name="connsiteX44" fmla="*/ 678655 w 1206591"/>
                    <a:gd name="connsiteY44" fmla="*/ 2173205 h 2752820"/>
                    <a:gd name="connsiteX45" fmla="*/ 663080 w 1206591"/>
                    <a:gd name="connsiteY45" fmla="*/ 2157849 h 2752820"/>
                    <a:gd name="connsiteX46" fmla="*/ 663299 w 1206591"/>
                    <a:gd name="connsiteY46" fmla="*/ 2156313 h 2752820"/>
                    <a:gd name="connsiteX47" fmla="*/ 663807 w 1206591"/>
                    <a:gd name="connsiteY47" fmla="*/ 2151829 h 2752820"/>
                    <a:gd name="connsiteX48" fmla="*/ 661325 w 1206591"/>
                    <a:gd name="connsiteY48" fmla="*/ 2155874 h 2752820"/>
                    <a:gd name="connsiteX49" fmla="*/ 582567 w 1206591"/>
                    <a:gd name="connsiteY49" fmla="*/ 2089402 h 2752820"/>
                    <a:gd name="connsiteX50" fmla="*/ 580320 w 1206591"/>
                    <a:gd name="connsiteY50" fmla="*/ 2084265 h 2752820"/>
                    <a:gd name="connsiteX51" fmla="*/ 577741 w 1206591"/>
                    <a:gd name="connsiteY51" fmla="*/ 2085892 h 2752820"/>
                    <a:gd name="connsiteX52" fmla="*/ 573792 w 1206591"/>
                    <a:gd name="connsiteY52" fmla="*/ 2083259 h 2752820"/>
                    <a:gd name="connsiteX53" fmla="*/ 559971 w 1206591"/>
                    <a:gd name="connsiteY53" fmla="*/ 2070316 h 2752820"/>
                    <a:gd name="connsiteX54" fmla="*/ 575766 w 1206591"/>
                    <a:gd name="connsiteY54" fmla="*/ 2039603 h 2752820"/>
                    <a:gd name="connsiteX55" fmla="*/ 581909 w 1206591"/>
                    <a:gd name="connsiteY55" fmla="*/ 2023588 h 2752820"/>
                    <a:gd name="connsiteX56" fmla="*/ 575985 w 1206591"/>
                    <a:gd name="connsiteY56" fmla="*/ 1975544 h 2752820"/>
                    <a:gd name="connsiteX57" fmla="*/ 527502 w 1206591"/>
                    <a:gd name="connsiteY57" fmla="*/ 1912143 h 2752820"/>
                    <a:gd name="connsiteX58" fmla="*/ 527502 w 1206591"/>
                    <a:gd name="connsiteY58" fmla="*/ 1883623 h 2752820"/>
                    <a:gd name="connsiteX59" fmla="*/ 562164 w 1206591"/>
                    <a:gd name="connsiteY59" fmla="*/ 1814738 h 2752820"/>
                    <a:gd name="connsiteX60" fmla="*/ 543736 w 1206591"/>
                    <a:gd name="connsiteY60" fmla="*/ 1755725 h 2752820"/>
                    <a:gd name="connsiteX61" fmla="*/ 532109 w 1206591"/>
                    <a:gd name="connsiteY61" fmla="*/ 1738613 h 2752820"/>
                    <a:gd name="connsiteX62" fmla="*/ 534084 w 1206591"/>
                    <a:gd name="connsiteY62" fmla="*/ 1736639 h 2752820"/>
                    <a:gd name="connsiteX63" fmla="*/ 534303 w 1206591"/>
                    <a:gd name="connsiteY63" fmla="*/ 1736200 h 2752820"/>
                    <a:gd name="connsiteX64" fmla="*/ 532109 w 1206591"/>
                    <a:gd name="connsiteY64" fmla="*/ 1735103 h 2752820"/>
                    <a:gd name="connsiteX65" fmla="*/ 501616 w 1206591"/>
                    <a:gd name="connsiteY65" fmla="*/ 1709874 h 2752820"/>
                    <a:gd name="connsiteX66" fmla="*/ 497008 w 1206591"/>
                    <a:gd name="connsiteY66" fmla="*/ 1687937 h 2752820"/>
                    <a:gd name="connsiteX67" fmla="*/ 531808 w 1206591"/>
                    <a:gd name="connsiteY67" fmla="*/ 1626564 h 2752820"/>
                    <a:gd name="connsiteX68" fmla="*/ 531822 w 1206591"/>
                    <a:gd name="connsiteY68" fmla="*/ 1627420 h 2752820"/>
                    <a:gd name="connsiteX69" fmla="*/ 532461 w 1206591"/>
                    <a:gd name="connsiteY69" fmla="*/ 1563126 h 2752820"/>
                    <a:gd name="connsiteX70" fmla="*/ 473315 w 1206591"/>
                    <a:gd name="connsiteY70" fmla="*/ 1495321 h 2752820"/>
                    <a:gd name="connsiteX71" fmla="*/ 471341 w 1206591"/>
                    <a:gd name="connsiteY71" fmla="*/ 1476454 h 2752820"/>
                    <a:gd name="connsiteX72" fmla="*/ 495253 w 1206591"/>
                    <a:gd name="connsiteY72" fmla="*/ 1441134 h 2752820"/>
                    <a:gd name="connsiteX73" fmla="*/ 463662 w 1206591"/>
                    <a:gd name="connsiteY73" fmla="*/ 1350750 h 2752820"/>
                    <a:gd name="connsiteX74" fmla="*/ 449841 w 1206591"/>
                    <a:gd name="connsiteY74" fmla="*/ 1348117 h 2752820"/>
                    <a:gd name="connsiteX75" fmla="*/ 437556 w 1206591"/>
                    <a:gd name="connsiteY75" fmla="*/ 1335173 h 2752820"/>
                    <a:gd name="connsiteX76" fmla="*/ 438214 w 1206591"/>
                    <a:gd name="connsiteY76" fmla="*/ 1311042 h 2752820"/>
                    <a:gd name="connsiteX77" fmla="*/ 422638 w 1206591"/>
                    <a:gd name="connsiteY77" fmla="*/ 1304021 h 2752820"/>
                    <a:gd name="connsiteX78" fmla="*/ 406404 w 1206591"/>
                    <a:gd name="connsiteY78" fmla="*/ 1304021 h 2752820"/>
                    <a:gd name="connsiteX79" fmla="*/ 348049 w 1206591"/>
                    <a:gd name="connsiteY79" fmla="*/ 1311041 h 2752820"/>
                    <a:gd name="connsiteX80" fmla="*/ 334447 w 1206591"/>
                    <a:gd name="connsiteY80" fmla="*/ 1296343 h 2752820"/>
                    <a:gd name="connsiteX81" fmla="*/ 338177 w 1206591"/>
                    <a:gd name="connsiteY81" fmla="*/ 1192356 h 2752820"/>
                    <a:gd name="connsiteX82" fmla="*/ 339472 w 1206591"/>
                    <a:gd name="connsiteY82" fmla="*/ 1143444 h 2752820"/>
                    <a:gd name="connsiteX83" fmla="*/ 265987 w 1206591"/>
                    <a:gd name="connsiteY83" fmla="*/ 1103558 h 2752820"/>
                    <a:gd name="connsiteX84" fmla="*/ 0 w 1206591"/>
                    <a:gd name="connsiteY84" fmla="*/ 603296 h 2752820"/>
                    <a:gd name="connsiteX85" fmla="*/ 47410 w 1206591"/>
                    <a:gd name="connsiteY85" fmla="*/ 368466 h 2752820"/>
                    <a:gd name="connsiteX0" fmla="*/ 47410 w 1206591"/>
                    <a:gd name="connsiteY0" fmla="*/ 368466 h 2752820"/>
                    <a:gd name="connsiteX1" fmla="*/ 603296 w 1206591"/>
                    <a:gd name="connsiteY1" fmla="*/ 0 h 2752820"/>
                    <a:gd name="connsiteX2" fmla="*/ 838125 w 1206591"/>
                    <a:gd name="connsiteY2" fmla="*/ 47410 h 2752820"/>
                    <a:gd name="connsiteX3" fmla="*/ 877680 w 1206591"/>
                    <a:gd name="connsiteY3" fmla="*/ 72242 h 2752820"/>
                    <a:gd name="connsiteX4" fmla="*/ 665356 w 1206591"/>
                    <a:gd name="connsiteY4" fmla="*/ 176012 h 2752820"/>
                    <a:gd name="connsiteX5" fmla="*/ 603296 w 1206591"/>
                    <a:gd name="connsiteY5" fmla="*/ 163483 h 2752820"/>
                    <a:gd name="connsiteX6" fmla="*/ 443859 w 1206591"/>
                    <a:gd name="connsiteY6" fmla="*/ 322919 h 2752820"/>
                    <a:gd name="connsiteX7" fmla="*/ 603296 w 1206591"/>
                    <a:gd name="connsiteY7" fmla="*/ 482356 h 2752820"/>
                    <a:gd name="connsiteX8" fmla="*/ 762733 w 1206591"/>
                    <a:gd name="connsiteY8" fmla="*/ 322919 h 2752820"/>
                    <a:gd name="connsiteX9" fmla="*/ 753492 w 1206591"/>
                    <a:gd name="connsiteY9" fmla="*/ 277148 h 2752820"/>
                    <a:gd name="connsiteX10" fmla="*/ 785562 w 1206591"/>
                    <a:gd name="connsiteY10" fmla="*/ 266006 h 2752820"/>
                    <a:gd name="connsiteX11" fmla="*/ 938904 w 1206591"/>
                    <a:gd name="connsiteY11" fmla="*/ 129739 h 2752820"/>
                    <a:gd name="connsiteX12" fmla="*/ 972122 w 1206591"/>
                    <a:gd name="connsiteY12" fmla="*/ 129039 h 2752820"/>
                    <a:gd name="connsiteX13" fmla="*/ 1029890 w 1206591"/>
                    <a:gd name="connsiteY13" fmla="*/ 176701 h 2752820"/>
                    <a:gd name="connsiteX14" fmla="*/ 1206591 w 1206591"/>
                    <a:gd name="connsiteY14" fmla="*/ 603295 h 2752820"/>
                    <a:gd name="connsiteX15" fmla="*/ 940604 w 1206591"/>
                    <a:gd name="connsiteY15" fmla="*/ 1103558 h 2752820"/>
                    <a:gd name="connsiteX16" fmla="*/ 857670 w 1206591"/>
                    <a:gd name="connsiteY16" fmla="*/ 1148573 h 2752820"/>
                    <a:gd name="connsiteX17" fmla="*/ 857670 w 1206591"/>
                    <a:gd name="connsiteY17" fmla="*/ 2588272 h 2752820"/>
                    <a:gd name="connsiteX18" fmla="*/ 858547 w 1206591"/>
                    <a:gd name="connsiteY18" fmla="*/ 2599022 h 2752820"/>
                    <a:gd name="connsiteX19" fmla="*/ 853940 w 1206591"/>
                    <a:gd name="connsiteY19" fmla="*/ 2605603 h 2752820"/>
                    <a:gd name="connsiteX20" fmla="*/ 792294 w 1206591"/>
                    <a:gd name="connsiteY20" fmla="*/ 2666372 h 2752820"/>
                    <a:gd name="connsiteX21" fmla="*/ 755438 w 1206591"/>
                    <a:gd name="connsiteY21" fmla="*/ 2700595 h 2752820"/>
                    <a:gd name="connsiteX22" fmla="*/ 754564 w 1206591"/>
                    <a:gd name="connsiteY22" fmla="*/ 2698017 h 2752820"/>
                    <a:gd name="connsiteX23" fmla="*/ 754561 w 1206591"/>
                    <a:gd name="connsiteY23" fmla="*/ 2698182 h 2752820"/>
                    <a:gd name="connsiteX24" fmla="*/ 753684 w 1206591"/>
                    <a:gd name="connsiteY24" fmla="*/ 2702350 h 2752820"/>
                    <a:gd name="connsiteX25" fmla="*/ 710465 w 1206591"/>
                    <a:gd name="connsiteY25" fmla="*/ 2745349 h 2752820"/>
                    <a:gd name="connsiteX26" fmla="*/ 691819 w 1206591"/>
                    <a:gd name="connsiteY26" fmla="*/ 2752808 h 2752820"/>
                    <a:gd name="connsiteX27" fmla="*/ 657156 w 1206591"/>
                    <a:gd name="connsiteY27" fmla="*/ 2751930 h 2752820"/>
                    <a:gd name="connsiteX28" fmla="*/ 657149 w 1206591"/>
                    <a:gd name="connsiteY28" fmla="*/ 2747739 h 2752820"/>
                    <a:gd name="connsiteX29" fmla="*/ 655130 w 1206591"/>
                    <a:gd name="connsiteY29" fmla="*/ 2750014 h 2752820"/>
                    <a:gd name="connsiteX30" fmla="*/ 650136 w 1206591"/>
                    <a:gd name="connsiteY30" fmla="*/ 2750394 h 2752820"/>
                    <a:gd name="connsiteX31" fmla="*/ 636754 w 1206591"/>
                    <a:gd name="connsiteY31" fmla="*/ 2739645 h 2752820"/>
                    <a:gd name="connsiteX32" fmla="*/ 464979 w 1206591"/>
                    <a:gd name="connsiteY32" fmla="*/ 2536499 h 2752820"/>
                    <a:gd name="connsiteX33" fmla="*/ 466076 w 1206591"/>
                    <a:gd name="connsiteY33" fmla="*/ 2504909 h 2752820"/>
                    <a:gd name="connsiteX34" fmla="*/ 512365 w 1206591"/>
                    <a:gd name="connsiteY34" fmla="*/ 2450064 h 2752820"/>
                    <a:gd name="connsiteX35" fmla="*/ 513461 w 1206591"/>
                    <a:gd name="connsiteY35" fmla="*/ 2414304 h 2752820"/>
                    <a:gd name="connsiteX36" fmla="*/ 542639 w 1206591"/>
                    <a:gd name="connsiteY36" fmla="*/ 2356607 h 2752820"/>
                    <a:gd name="connsiteX37" fmla="*/ 640702 w 1206591"/>
                    <a:gd name="connsiteY37" fmla="*/ 2281579 h 2752820"/>
                    <a:gd name="connsiteX38" fmla="*/ 657156 w 1206591"/>
                    <a:gd name="connsiteY38" fmla="*/ 2261176 h 2752820"/>
                    <a:gd name="connsiteX39" fmla="*/ 659999 w 1206591"/>
                    <a:gd name="connsiteY39" fmla="*/ 2263633 h 2752820"/>
                    <a:gd name="connsiteX40" fmla="*/ 660008 w 1206591"/>
                    <a:gd name="connsiteY40" fmla="*/ 2261397 h 2752820"/>
                    <a:gd name="connsiteX41" fmla="*/ 661105 w 1206591"/>
                    <a:gd name="connsiteY41" fmla="*/ 2256131 h 2752820"/>
                    <a:gd name="connsiteX42" fmla="*/ 679094 w 1206591"/>
                    <a:gd name="connsiteY42" fmla="*/ 2199970 h 2752820"/>
                    <a:gd name="connsiteX43" fmla="*/ 680850 w 1206591"/>
                    <a:gd name="connsiteY43" fmla="*/ 2198873 h 2752820"/>
                    <a:gd name="connsiteX44" fmla="*/ 678655 w 1206591"/>
                    <a:gd name="connsiteY44" fmla="*/ 2173205 h 2752820"/>
                    <a:gd name="connsiteX45" fmla="*/ 663080 w 1206591"/>
                    <a:gd name="connsiteY45" fmla="*/ 2157849 h 2752820"/>
                    <a:gd name="connsiteX46" fmla="*/ 663299 w 1206591"/>
                    <a:gd name="connsiteY46" fmla="*/ 2156313 h 2752820"/>
                    <a:gd name="connsiteX47" fmla="*/ 663807 w 1206591"/>
                    <a:gd name="connsiteY47" fmla="*/ 2151829 h 2752820"/>
                    <a:gd name="connsiteX48" fmla="*/ 661325 w 1206591"/>
                    <a:gd name="connsiteY48" fmla="*/ 2155874 h 2752820"/>
                    <a:gd name="connsiteX49" fmla="*/ 582567 w 1206591"/>
                    <a:gd name="connsiteY49" fmla="*/ 2089402 h 2752820"/>
                    <a:gd name="connsiteX50" fmla="*/ 580320 w 1206591"/>
                    <a:gd name="connsiteY50" fmla="*/ 2084265 h 2752820"/>
                    <a:gd name="connsiteX51" fmla="*/ 577741 w 1206591"/>
                    <a:gd name="connsiteY51" fmla="*/ 2085892 h 2752820"/>
                    <a:gd name="connsiteX52" fmla="*/ 573792 w 1206591"/>
                    <a:gd name="connsiteY52" fmla="*/ 2083259 h 2752820"/>
                    <a:gd name="connsiteX53" fmla="*/ 559971 w 1206591"/>
                    <a:gd name="connsiteY53" fmla="*/ 2070316 h 2752820"/>
                    <a:gd name="connsiteX54" fmla="*/ 575766 w 1206591"/>
                    <a:gd name="connsiteY54" fmla="*/ 2039603 h 2752820"/>
                    <a:gd name="connsiteX55" fmla="*/ 581909 w 1206591"/>
                    <a:gd name="connsiteY55" fmla="*/ 2023588 h 2752820"/>
                    <a:gd name="connsiteX56" fmla="*/ 575985 w 1206591"/>
                    <a:gd name="connsiteY56" fmla="*/ 1975544 h 2752820"/>
                    <a:gd name="connsiteX57" fmla="*/ 527502 w 1206591"/>
                    <a:gd name="connsiteY57" fmla="*/ 1912143 h 2752820"/>
                    <a:gd name="connsiteX58" fmla="*/ 527502 w 1206591"/>
                    <a:gd name="connsiteY58" fmla="*/ 1883623 h 2752820"/>
                    <a:gd name="connsiteX59" fmla="*/ 562164 w 1206591"/>
                    <a:gd name="connsiteY59" fmla="*/ 1814738 h 2752820"/>
                    <a:gd name="connsiteX60" fmla="*/ 543736 w 1206591"/>
                    <a:gd name="connsiteY60" fmla="*/ 1755725 h 2752820"/>
                    <a:gd name="connsiteX61" fmla="*/ 532109 w 1206591"/>
                    <a:gd name="connsiteY61" fmla="*/ 1738613 h 2752820"/>
                    <a:gd name="connsiteX62" fmla="*/ 534084 w 1206591"/>
                    <a:gd name="connsiteY62" fmla="*/ 1736639 h 2752820"/>
                    <a:gd name="connsiteX63" fmla="*/ 534303 w 1206591"/>
                    <a:gd name="connsiteY63" fmla="*/ 1736200 h 2752820"/>
                    <a:gd name="connsiteX64" fmla="*/ 532109 w 1206591"/>
                    <a:gd name="connsiteY64" fmla="*/ 1735103 h 2752820"/>
                    <a:gd name="connsiteX65" fmla="*/ 501616 w 1206591"/>
                    <a:gd name="connsiteY65" fmla="*/ 1709874 h 2752820"/>
                    <a:gd name="connsiteX66" fmla="*/ 497008 w 1206591"/>
                    <a:gd name="connsiteY66" fmla="*/ 1687937 h 2752820"/>
                    <a:gd name="connsiteX67" fmla="*/ 531808 w 1206591"/>
                    <a:gd name="connsiteY67" fmla="*/ 1626564 h 2752820"/>
                    <a:gd name="connsiteX68" fmla="*/ 531822 w 1206591"/>
                    <a:gd name="connsiteY68" fmla="*/ 1627420 h 2752820"/>
                    <a:gd name="connsiteX69" fmla="*/ 532461 w 1206591"/>
                    <a:gd name="connsiteY69" fmla="*/ 1563126 h 2752820"/>
                    <a:gd name="connsiteX70" fmla="*/ 473315 w 1206591"/>
                    <a:gd name="connsiteY70" fmla="*/ 1495321 h 2752820"/>
                    <a:gd name="connsiteX71" fmla="*/ 471341 w 1206591"/>
                    <a:gd name="connsiteY71" fmla="*/ 1476454 h 2752820"/>
                    <a:gd name="connsiteX72" fmla="*/ 495253 w 1206591"/>
                    <a:gd name="connsiteY72" fmla="*/ 1441134 h 2752820"/>
                    <a:gd name="connsiteX73" fmla="*/ 463662 w 1206591"/>
                    <a:gd name="connsiteY73" fmla="*/ 1350750 h 2752820"/>
                    <a:gd name="connsiteX74" fmla="*/ 449841 w 1206591"/>
                    <a:gd name="connsiteY74" fmla="*/ 1348117 h 2752820"/>
                    <a:gd name="connsiteX75" fmla="*/ 437556 w 1206591"/>
                    <a:gd name="connsiteY75" fmla="*/ 1335173 h 2752820"/>
                    <a:gd name="connsiteX76" fmla="*/ 438214 w 1206591"/>
                    <a:gd name="connsiteY76" fmla="*/ 1311042 h 2752820"/>
                    <a:gd name="connsiteX77" fmla="*/ 422638 w 1206591"/>
                    <a:gd name="connsiteY77" fmla="*/ 1304021 h 2752820"/>
                    <a:gd name="connsiteX78" fmla="*/ 406404 w 1206591"/>
                    <a:gd name="connsiteY78" fmla="*/ 1304021 h 2752820"/>
                    <a:gd name="connsiteX79" fmla="*/ 348049 w 1206591"/>
                    <a:gd name="connsiteY79" fmla="*/ 1311041 h 2752820"/>
                    <a:gd name="connsiteX80" fmla="*/ 334447 w 1206591"/>
                    <a:gd name="connsiteY80" fmla="*/ 1296343 h 2752820"/>
                    <a:gd name="connsiteX81" fmla="*/ 338177 w 1206591"/>
                    <a:gd name="connsiteY81" fmla="*/ 1192356 h 2752820"/>
                    <a:gd name="connsiteX82" fmla="*/ 339472 w 1206591"/>
                    <a:gd name="connsiteY82" fmla="*/ 1143444 h 2752820"/>
                    <a:gd name="connsiteX83" fmla="*/ 265987 w 1206591"/>
                    <a:gd name="connsiteY83" fmla="*/ 1103558 h 2752820"/>
                    <a:gd name="connsiteX84" fmla="*/ 0 w 1206591"/>
                    <a:gd name="connsiteY84" fmla="*/ 603296 h 2752820"/>
                    <a:gd name="connsiteX85" fmla="*/ 47410 w 1206591"/>
                    <a:gd name="connsiteY85" fmla="*/ 368466 h 2752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1206591" h="2752820">
                      <a:moveTo>
                        <a:pt x="47410" y="368466"/>
                      </a:moveTo>
                      <a:cubicBezTo>
                        <a:pt x="138995" y="151934"/>
                        <a:pt x="353402" y="0"/>
                        <a:pt x="603296" y="0"/>
                      </a:cubicBezTo>
                      <a:cubicBezTo>
                        <a:pt x="686593" y="0"/>
                        <a:pt x="765948" y="16882"/>
                        <a:pt x="838125" y="47410"/>
                      </a:cubicBezTo>
                      <a:lnTo>
                        <a:pt x="877680" y="72242"/>
                      </a:lnTo>
                      <a:lnTo>
                        <a:pt x="665356" y="176012"/>
                      </a:lnTo>
                      <a:cubicBezTo>
                        <a:pt x="646281" y="167944"/>
                        <a:pt x="625309" y="163483"/>
                        <a:pt x="603296" y="163483"/>
                      </a:cubicBezTo>
                      <a:cubicBezTo>
                        <a:pt x="515241" y="163482"/>
                        <a:pt x="443859" y="234864"/>
                        <a:pt x="443859" y="322919"/>
                      </a:cubicBezTo>
                      <a:cubicBezTo>
                        <a:pt x="443859" y="410974"/>
                        <a:pt x="515241" y="482356"/>
                        <a:pt x="603296" y="482356"/>
                      </a:cubicBezTo>
                      <a:cubicBezTo>
                        <a:pt x="691351" y="482356"/>
                        <a:pt x="762733" y="410974"/>
                        <a:pt x="762733" y="322919"/>
                      </a:cubicBezTo>
                      <a:lnTo>
                        <a:pt x="753492" y="277148"/>
                      </a:lnTo>
                      <a:lnTo>
                        <a:pt x="785562" y="266006"/>
                      </a:lnTo>
                      <a:cubicBezTo>
                        <a:pt x="852084" y="235545"/>
                        <a:pt x="888055" y="182914"/>
                        <a:pt x="938904" y="129739"/>
                      </a:cubicBezTo>
                      <a:lnTo>
                        <a:pt x="972122" y="129039"/>
                      </a:lnTo>
                      <a:lnTo>
                        <a:pt x="1029890" y="176701"/>
                      </a:lnTo>
                      <a:cubicBezTo>
                        <a:pt x="1139065" y="285875"/>
                        <a:pt x="1206591" y="436699"/>
                        <a:pt x="1206591" y="603295"/>
                      </a:cubicBezTo>
                      <a:cubicBezTo>
                        <a:pt x="1206591" y="811540"/>
                        <a:pt x="1101081" y="995141"/>
                        <a:pt x="940604" y="1103558"/>
                      </a:cubicBezTo>
                      <a:lnTo>
                        <a:pt x="857670" y="1148573"/>
                      </a:lnTo>
                      <a:lnTo>
                        <a:pt x="857670" y="2588272"/>
                      </a:lnTo>
                      <a:cubicBezTo>
                        <a:pt x="857669" y="2591783"/>
                        <a:pt x="856792" y="2595512"/>
                        <a:pt x="858547" y="2599022"/>
                      </a:cubicBezTo>
                      <a:lnTo>
                        <a:pt x="853940" y="2605603"/>
                      </a:lnTo>
                      <a:cubicBezTo>
                        <a:pt x="832879" y="2625347"/>
                        <a:pt x="812258" y="2645530"/>
                        <a:pt x="792294" y="2666372"/>
                      </a:cubicBezTo>
                      <a:cubicBezTo>
                        <a:pt x="780667" y="2678657"/>
                        <a:pt x="768601" y="2690065"/>
                        <a:pt x="755438" y="2700595"/>
                      </a:cubicBezTo>
                      <a:lnTo>
                        <a:pt x="754564" y="2698017"/>
                      </a:lnTo>
                      <a:lnTo>
                        <a:pt x="754561" y="2698182"/>
                      </a:lnTo>
                      <a:cubicBezTo>
                        <a:pt x="754341" y="2699498"/>
                        <a:pt x="754342" y="2701034"/>
                        <a:pt x="753684" y="2702350"/>
                      </a:cubicBezTo>
                      <a:lnTo>
                        <a:pt x="710465" y="2745349"/>
                      </a:lnTo>
                      <a:cubicBezTo>
                        <a:pt x="705420" y="2750394"/>
                        <a:pt x="699058" y="2753027"/>
                        <a:pt x="691819" y="2752808"/>
                      </a:cubicBezTo>
                      <a:lnTo>
                        <a:pt x="657156" y="2751930"/>
                      </a:lnTo>
                      <a:cubicBezTo>
                        <a:pt x="657154" y="2750533"/>
                        <a:pt x="657151" y="2749136"/>
                        <a:pt x="657149" y="2747739"/>
                      </a:cubicBezTo>
                      <a:lnTo>
                        <a:pt x="655130" y="2750014"/>
                      </a:lnTo>
                      <a:cubicBezTo>
                        <a:pt x="653989" y="2750545"/>
                        <a:pt x="652385" y="2750724"/>
                        <a:pt x="650136" y="2750394"/>
                      </a:cubicBezTo>
                      <a:cubicBezTo>
                        <a:pt x="644213" y="2748639"/>
                        <a:pt x="640483" y="2744033"/>
                        <a:pt x="636754" y="2739645"/>
                      </a:cubicBezTo>
                      <a:lnTo>
                        <a:pt x="464979" y="2536499"/>
                      </a:lnTo>
                      <a:cubicBezTo>
                        <a:pt x="454668" y="2524433"/>
                        <a:pt x="455107" y="2516974"/>
                        <a:pt x="466076" y="2504909"/>
                      </a:cubicBezTo>
                      <a:cubicBezTo>
                        <a:pt x="482090" y="2487138"/>
                        <a:pt x="500298" y="2471343"/>
                        <a:pt x="512365" y="2450064"/>
                      </a:cubicBezTo>
                      <a:cubicBezTo>
                        <a:pt x="516313" y="2438216"/>
                        <a:pt x="514339" y="2426150"/>
                        <a:pt x="513461" y="2414304"/>
                      </a:cubicBezTo>
                      <a:cubicBezTo>
                        <a:pt x="509951" y="2368893"/>
                        <a:pt x="508635" y="2377229"/>
                        <a:pt x="542639" y="2356607"/>
                      </a:cubicBezTo>
                      <a:cubicBezTo>
                        <a:pt x="577960" y="2335108"/>
                        <a:pt x="612183" y="2312073"/>
                        <a:pt x="640702" y="2281579"/>
                      </a:cubicBezTo>
                      <a:cubicBezTo>
                        <a:pt x="646626" y="2275217"/>
                        <a:pt x="651672" y="2267978"/>
                        <a:pt x="657156" y="2261176"/>
                      </a:cubicBezTo>
                      <a:lnTo>
                        <a:pt x="659999" y="2263633"/>
                      </a:lnTo>
                      <a:cubicBezTo>
                        <a:pt x="660002" y="2262887"/>
                        <a:pt x="660005" y="2262142"/>
                        <a:pt x="660008" y="2261397"/>
                      </a:cubicBezTo>
                      <a:cubicBezTo>
                        <a:pt x="660008" y="2259421"/>
                        <a:pt x="660227" y="2257886"/>
                        <a:pt x="661105" y="2256131"/>
                      </a:cubicBezTo>
                      <a:cubicBezTo>
                        <a:pt x="669661" y="2238361"/>
                        <a:pt x="676681" y="2219933"/>
                        <a:pt x="679094" y="2199970"/>
                      </a:cubicBezTo>
                      <a:cubicBezTo>
                        <a:pt x="679752" y="2199751"/>
                        <a:pt x="680191" y="2199311"/>
                        <a:pt x="680850" y="2198873"/>
                      </a:cubicBezTo>
                      <a:cubicBezTo>
                        <a:pt x="682385" y="2190098"/>
                        <a:pt x="686992" y="2181103"/>
                        <a:pt x="678655" y="2173205"/>
                      </a:cubicBezTo>
                      <a:cubicBezTo>
                        <a:pt x="673390" y="2167940"/>
                        <a:pt x="668345" y="2162895"/>
                        <a:pt x="663080" y="2157849"/>
                      </a:cubicBezTo>
                      <a:cubicBezTo>
                        <a:pt x="663079" y="2157410"/>
                        <a:pt x="663299" y="2156752"/>
                        <a:pt x="663299" y="2156313"/>
                      </a:cubicBezTo>
                      <a:cubicBezTo>
                        <a:pt x="663468" y="2154818"/>
                        <a:pt x="663638" y="2153324"/>
                        <a:pt x="663807" y="2151829"/>
                      </a:cubicBezTo>
                      <a:lnTo>
                        <a:pt x="661325" y="2155874"/>
                      </a:lnTo>
                      <a:lnTo>
                        <a:pt x="582567" y="2089402"/>
                      </a:lnTo>
                      <a:lnTo>
                        <a:pt x="580320" y="2084265"/>
                      </a:lnTo>
                      <a:lnTo>
                        <a:pt x="577741" y="2085892"/>
                      </a:lnTo>
                      <a:lnTo>
                        <a:pt x="573792" y="2083259"/>
                      </a:lnTo>
                      <a:cubicBezTo>
                        <a:pt x="569185" y="2078872"/>
                        <a:pt x="564578" y="2074484"/>
                        <a:pt x="559971" y="2070316"/>
                      </a:cubicBezTo>
                      <a:cubicBezTo>
                        <a:pt x="564578" y="2059566"/>
                        <a:pt x="568526" y="2048817"/>
                        <a:pt x="575766" y="2039603"/>
                      </a:cubicBezTo>
                      <a:cubicBezTo>
                        <a:pt x="579423" y="2031814"/>
                        <a:pt x="581292" y="2034438"/>
                        <a:pt x="581909" y="2023588"/>
                      </a:cubicBezTo>
                      <a:cubicBezTo>
                        <a:pt x="581945" y="2012912"/>
                        <a:pt x="585052" y="1994118"/>
                        <a:pt x="575985" y="1975544"/>
                      </a:cubicBezTo>
                      <a:cubicBezTo>
                        <a:pt x="561725" y="1952948"/>
                        <a:pt x="543517" y="1933423"/>
                        <a:pt x="527502" y="1912143"/>
                      </a:cubicBezTo>
                      <a:cubicBezTo>
                        <a:pt x="524870" y="1902710"/>
                        <a:pt x="524870" y="1893057"/>
                        <a:pt x="527502" y="1883623"/>
                      </a:cubicBezTo>
                      <a:cubicBezTo>
                        <a:pt x="543078" y="1862563"/>
                        <a:pt x="554266" y="1839528"/>
                        <a:pt x="562164" y="1814738"/>
                      </a:cubicBezTo>
                      <a:cubicBezTo>
                        <a:pt x="566332" y="1791923"/>
                        <a:pt x="554925" y="1773934"/>
                        <a:pt x="543736" y="1755725"/>
                      </a:cubicBezTo>
                      <a:cubicBezTo>
                        <a:pt x="540226" y="1749801"/>
                        <a:pt x="536058" y="1744317"/>
                        <a:pt x="532109" y="1738613"/>
                      </a:cubicBezTo>
                      <a:cubicBezTo>
                        <a:pt x="531451" y="1736858"/>
                        <a:pt x="532109" y="1735981"/>
                        <a:pt x="534084" y="1736639"/>
                      </a:cubicBezTo>
                      <a:cubicBezTo>
                        <a:pt x="534303" y="1736420"/>
                        <a:pt x="534303" y="1736420"/>
                        <a:pt x="534303" y="1736200"/>
                      </a:cubicBezTo>
                      <a:cubicBezTo>
                        <a:pt x="533645" y="1735761"/>
                        <a:pt x="532987" y="1735542"/>
                        <a:pt x="532109" y="1735103"/>
                      </a:cubicBezTo>
                      <a:lnTo>
                        <a:pt x="501616" y="1709874"/>
                      </a:lnTo>
                      <a:cubicBezTo>
                        <a:pt x="493498" y="1703732"/>
                        <a:pt x="492621" y="1696712"/>
                        <a:pt x="497008" y="1687937"/>
                      </a:cubicBezTo>
                      <a:cubicBezTo>
                        <a:pt x="502040" y="1674052"/>
                        <a:pt x="526006" y="1636651"/>
                        <a:pt x="531808" y="1626564"/>
                      </a:cubicBezTo>
                      <a:cubicBezTo>
                        <a:pt x="531813" y="1626850"/>
                        <a:pt x="531817" y="1627134"/>
                        <a:pt x="531822" y="1627420"/>
                      </a:cubicBezTo>
                      <a:cubicBezTo>
                        <a:pt x="531931" y="1616847"/>
                        <a:pt x="542213" y="1585142"/>
                        <a:pt x="532461" y="1563126"/>
                      </a:cubicBezTo>
                      <a:lnTo>
                        <a:pt x="473315" y="1495321"/>
                      </a:lnTo>
                      <a:cubicBezTo>
                        <a:pt x="465417" y="1489837"/>
                        <a:pt x="466295" y="1483475"/>
                        <a:pt x="471341" y="1476454"/>
                      </a:cubicBezTo>
                      <a:cubicBezTo>
                        <a:pt x="479896" y="1465046"/>
                        <a:pt x="488233" y="1453638"/>
                        <a:pt x="495253" y="1441134"/>
                      </a:cubicBezTo>
                      <a:cubicBezTo>
                        <a:pt x="516972" y="1402742"/>
                        <a:pt x="504687" y="1367642"/>
                        <a:pt x="463662" y="1350750"/>
                      </a:cubicBezTo>
                      <a:cubicBezTo>
                        <a:pt x="459275" y="1348994"/>
                        <a:pt x="454668" y="1347678"/>
                        <a:pt x="449841" y="1348117"/>
                      </a:cubicBezTo>
                      <a:cubicBezTo>
                        <a:pt x="439969" y="1349213"/>
                        <a:pt x="436679" y="1344388"/>
                        <a:pt x="437556" y="1335173"/>
                      </a:cubicBezTo>
                      <a:cubicBezTo>
                        <a:pt x="438214" y="1327276"/>
                        <a:pt x="437995" y="1319159"/>
                        <a:pt x="438214" y="1311042"/>
                      </a:cubicBezTo>
                      <a:lnTo>
                        <a:pt x="422638" y="1304021"/>
                      </a:lnTo>
                      <a:lnTo>
                        <a:pt x="406404" y="1304021"/>
                      </a:lnTo>
                      <a:cubicBezTo>
                        <a:pt x="387098" y="1306873"/>
                        <a:pt x="368012" y="1312358"/>
                        <a:pt x="348049" y="1311041"/>
                      </a:cubicBezTo>
                      <a:cubicBezTo>
                        <a:pt x="334667" y="1310164"/>
                        <a:pt x="333789" y="1310164"/>
                        <a:pt x="334447" y="1296343"/>
                      </a:cubicBezTo>
                      <a:cubicBezTo>
                        <a:pt x="336422" y="1261680"/>
                        <a:pt x="337738" y="1227018"/>
                        <a:pt x="338177" y="1192356"/>
                      </a:cubicBezTo>
                      <a:cubicBezTo>
                        <a:pt x="338609" y="1176052"/>
                        <a:pt x="339040" y="1159748"/>
                        <a:pt x="339472" y="1143444"/>
                      </a:cubicBezTo>
                      <a:lnTo>
                        <a:pt x="265987" y="1103558"/>
                      </a:lnTo>
                      <a:cubicBezTo>
                        <a:pt x="105510" y="995141"/>
                        <a:pt x="0" y="811540"/>
                        <a:pt x="0" y="603296"/>
                      </a:cubicBezTo>
                      <a:cubicBezTo>
                        <a:pt x="0" y="519998"/>
                        <a:pt x="16882" y="440643"/>
                        <a:pt x="47410" y="368466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" name="Freeform: Shape 48">
                  <a:extLst>
                    <a:ext uri="{FF2B5EF4-FFF2-40B4-BE49-F238E27FC236}">
                      <a16:creationId xmlns="" xmlns:a16="http://schemas.microsoft.com/office/drawing/2014/main" id="{AC74BBFA-6170-42A9-B2F5-737545D29FB8}"/>
                    </a:ext>
                  </a:extLst>
                </p:cNvPr>
                <p:cNvSpPr/>
                <p:nvPr/>
              </p:nvSpPr>
              <p:spPr>
                <a:xfrm rot="3782544">
                  <a:off x="6877925" y="2428832"/>
                  <a:ext cx="1206591" cy="2752820"/>
                </a:xfrm>
                <a:custGeom>
                  <a:avLst/>
                  <a:gdLst>
                    <a:gd name="connsiteX0" fmla="*/ 47410 w 1206591"/>
                    <a:gd name="connsiteY0" fmla="*/ 368466 h 2752820"/>
                    <a:gd name="connsiteX1" fmla="*/ 603296 w 1206591"/>
                    <a:gd name="connsiteY1" fmla="*/ 0 h 2752820"/>
                    <a:gd name="connsiteX2" fmla="*/ 838125 w 1206591"/>
                    <a:gd name="connsiteY2" fmla="*/ 47410 h 2752820"/>
                    <a:gd name="connsiteX3" fmla="*/ 897862 w 1206591"/>
                    <a:gd name="connsiteY3" fmla="*/ 79833 h 2752820"/>
                    <a:gd name="connsiteX4" fmla="*/ 803376 w 1206591"/>
                    <a:gd name="connsiteY4" fmla="*/ 156473 h 2752820"/>
                    <a:gd name="connsiteX5" fmla="*/ 703894 w 1206591"/>
                    <a:gd name="connsiteY5" fmla="*/ 201995 h 2752820"/>
                    <a:gd name="connsiteX6" fmla="*/ 665356 w 1206591"/>
                    <a:gd name="connsiteY6" fmla="*/ 176012 h 2752820"/>
                    <a:gd name="connsiteX7" fmla="*/ 603296 w 1206591"/>
                    <a:gd name="connsiteY7" fmla="*/ 163483 h 2752820"/>
                    <a:gd name="connsiteX8" fmla="*/ 443859 w 1206591"/>
                    <a:gd name="connsiteY8" fmla="*/ 322919 h 2752820"/>
                    <a:gd name="connsiteX9" fmla="*/ 603296 w 1206591"/>
                    <a:gd name="connsiteY9" fmla="*/ 482356 h 2752820"/>
                    <a:gd name="connsiteX10" fmla="*/ 762733 w 1206591"/>
                    <a:gd name="connsiteY10" fmla="*/ 322919 h 2752820"/>
                    <a:gd name="connsiteX11" fmla="*/ 753492 w 1206591"/>
                    <a:gd name="connsiteY11" fmla="*/ 277148 h 2752820"/>
                    <a:gd name="connsiteX12" fmla="*/ 785562 w 1206591"/>
                    <a:gd name="connsiteY12" fmla="*/ 266006 h 2752820"/>
                    <a:gd name="connsiteX13" fmla="*/ 963332 w 1206591"/>
                    <a:gd name="connsiteY13" fmla="*/ 139490 h 2752820"/>
                    <a:gd name="connsiteX14" fmla="*/ 972122 w 1206591"/>
                    <a:gd name="connsiteY14" fmla="*/ 129039 h 2752820"/>
                    <a:gd name="connsiteX15" fmla="*/ 1029890 w 1206591"/>
                    <a:gd name="connsiteY15" fmla="*/ 176701 h 2752820"/>
                    <a:gd name="connsiteX16" fmla="*/ 1206591 w 1206591"/>
                    <a:gd name="connsiteY16" fmla="*/ 603295 h 2752820"/>
                    <a:gd name="connsiteX17" fmla="*/ 940604 w 1206591"/>
                    <a:gd name="connsiteY17" fmla="*/ 1103558 h 2752820"/>
                    <a:gd name="connsiteX18" fmla="*/ 857670 w 1206591"/>
                    <a:gd name="connsiteY18" fmla="*/ 1148573 h 2752820"/>
                    <a:gd name="connsiteX19" fmla="*/ 857670 w 1206591"/>
                    <a:gd name="connsiteY19" fmla="*/ 2588272 h 2752820"/>
                    <a:gd name="connsiteX20" fmla="*/ 858547 w 1206591"/>
                    <a:gd name="connsiteY20" fmla="*/ 2599022 h 2752820"/>
                    <a:gd name="connsiteX21" fmla="*/ 853940 w 1206591"/>
                    <a:gd name="connsiteY21" fmla="*/ 2605603 h 2752820"/>
                    <a:gd name="connsiteX22" fmla="*/ 792294 w 1206591"/>
                    <a:gd name="connsiteY22" fmla="*/ 2666372 h 2752820"/>
                    <a:gd name="connsiteX23" fmla="*/ 755438 w 1206591"/>
                    <a:gd name="connsiteY23" fmla="*/ 2700595 h 2752820"/>
                    <a:gd name="connsiteX24" fmla="*/ 754564 w 1206591"/>
                    <a:gd name="connsiteY24" fmla="*/ 2698017 h 2752820"/>
                    <a:gd name="connsiteX25" fmla="*/ 754561 w 1206591"/>
                    <a:gd name="connsiteY25" fmla="*/ 2698182 h 2752820"/>
                    <a:gd name="connsiteX26" fmla="*/ 753684 w 1206591"/>
                    <a:gd name="connsiteY26" fmla="*/ 2702350 h 2752820"/>
                    <a:gd name="connsiteX27" fmla="*/ 710465 w 1206591"/>
                    <a:gd name="connsiteY27" fmla="*/ 2745349 h 2752820"/>
                    <a:gd name="connsiteX28" fmla="*/ 691819 w 1206591"/>
                    <a:gd name="connsiteY28" fmla="*/ 2752808 h 2752820"/>
                    <a:gd name="connsiteX29" fmla="*/ 657156 w 1206591"/>
                    <a:gd name="connsiteY29" fmla="*/ 2751930 h 2752820"/>
                    <a:gd name="connsiteX30" fmla="*/ 657149 w 1206591"/>
                    <a:gd name="connsiteY30" fmla="*/ 2747739 h 2752820"/>
                    <a:gd name="connsiteX31" fmla="*/ 655130 w 1206591"/>
                    <a:gd name="connsiteY31" fmla="*/ 2750014 h 2752820"/>
                    <a:gd name="connsiteX32" fmla="*/ 650136 w 1206591"/>
                    <a:gd name="connsiteY32" fmla="*/ 2750394 h 2752820"/>
                    <a:gd name="connsiteX33" fmla="*/ 636754 w 1206591"/>
                    <a:gd name="connsiteY33" fmla="*/ 2739645 h 2752820"/>
                    <a:gd name="connsiteX34" fmla="*/ 464979 w 1206591"/>
                    <a:gd name="connsiteY34" fmla="*/ 2536499 h 2752820"/>
                    <a:gd name="connsiteX35" fmla="*/ 466076 w 1206591"/>
                    <a:gd name="connsiteY35" fmla="*/ 2504909 h 2752820"/>
                    <a:gd name="connsiteX36" fmla="*/ 512365 w 1206591"/>
                    <a:gd name="connsiteY36" fmla="*/ 2450064 h 2752820"/>
                    <a:gd name="connsiteX37" fmla="*/ 513461 w 1206591"/>
                    <a:gd name="connsiteY37" fmla="*/ 2414304 h 2752820"/>
                    <a:gd name="connsiteX38" fmla="*/ 542639 w 1206591"/>
                    <a:gd name="connsiteY38" fmla="*/ 2356607 h 2752820"/>
                    <a:gd name="connsiteX39" fmla="*/ 640702 w 1206591"/>
                    <a:gd name="connsiteY39" fmla="*/ 2281579 h 2752820"/>
                    <a:gd name="connsiteX40" fmla="*/ 657156 w 1206591"/>
                    <a:gd name="connsiteY40" fmla="*/ 2261176 h 2752820"/>
                    <a:gd name="connsiteX41" fmla="*/ 659999 w 1206591"/>
                    <a:gd name="connsiteY41" fmla="*/ 2263633 h 2752820"/>
                    <a:gd name="connsiteX42" fmla="*/ 660008 w 1206591"/>
                    <a:gd name="connsiteY42" fmla="*/ 2261397 h 2752820"/>
                    <a:gd name="connsiteX43" fmla="*/ 661105 w 1206591"/>
                    <a:gd name="connsiteY43" fmla="*/ 2256131 h 2752820"/>
                    <a:gd name="connsiteX44" fmla="*/ 679094 w 1206591"/>
                    <a:gd name="connsiteY44" fmla="*/ 2199970 h 2752820"/>
                    <a:gd name="connsiteX45" fmla="*/ 680850 w 1206591"/>
                    <a:gd name="connsiteY45" fmla="*/ 2198873 h 2752820"/>
                    <a:gd name="connsiteX46" fmla="*/ 678655 w 1206591"/>
                    <a:gd name="connsiteY46" fmla="*/ 2173205 h 2752820"/>
                    <a:gd name="connsiteX47" fmla="*/ 663080 w 1206591"/>
                    <a:gd name="connsiteY47" fmla="*/ 2157849 h 2752820"/>
                    <a:gd name="connsiteX48" fmla="*/ 663299 w 1206591"/>
                    <a:gd name="connsiteY48" fmla="*/ 2156313 h 2752820"/>
                    <a:gd name="connsiteX49" fmla="*/ 663807 w 1206591"/>
                    <a:gd name="connsiteY49" fmla="*/ 2151829 h 2752820"/>
                    <a:gd name="connsiteX50" fmla="*/ 661325 w 1206591"/>
                    <a:gd name="connsiteY50" fmla="*/ 2155874 h 2752820"/>
                    <a:gd name="connsiteX51" fmla="*/ 582567 w 1206591"/>
                    <a:gd name="connsiteY51" fmla="*/ 2089402 h 2752820"/>
                    <a:gd name="connsiteX52" fmla="*/ 580320 w 1206591"/>
                    <a:gd name="connsiteY52" fmla="*/ 2084265 h 2752820"/>
                    <a:gd name="connsiteX53" fmla="*/ 577741 w 1206591"/>
                    <a:gd name="connsiteY53" fmla="*/ 2085892 h 2752820"/>
                    <a:gd name="connsiteX54" fmla="*/ 573792 w 1206591"/>
                    <a:gd name="connsiteY54" fmla="*/ 2083259 h 2752820"/>
                    <a:gd name="connsiteX55" fmla="*/ 559971 w 1206591"/>
                    <a:gd name="connsiteY55" fmla="*/ 2070316 h 2752820"/>
                    <a:gd name="connsiteX56" fmla="*/ 575766 w 1206591"/>
                    <a:gd name="connsiteY56" fmla="*/ 2039603 h 2752820"/>
                    <a:gd name="connsiteX57" fmla="*/ 581909 w 1206591"/>
                    <a:gd name="connsiteY57" fmla="*/ 2023588 h 2752820"/>
                    <a:gd name="connsiteX58" fmla="*/ 575985 w 1206591"/>
                    <a:gd name="connsiteY58" fmla="*/ 1975544 h 2752820"/>
                    <a:gd name="connsiteX59" fmla="*/ 527502 w 1206591"/>
                    <a:gd name="connsiteY59" fmla="*/ 1912143 h 2752820"/>
                    <a:gd name="connsiteX60" fmla="*/ 527502 w 1206591"/>
                    <a:gd name="connsiteY60" fmla="*/ 1883623 h 2752820"/>
                    <a:gd name="connsiteX61" fmla="*/ 562164 w 1206591"/>
                    <a:gd name="connsiteY61" fmla="*/ 1814738 h 2752820"/>
                    <a:gd name="connsiteX62" fmla="*/ 543736 w 1206591"/>
                    <a:gd name="connsiteY62" fmla="*/ 1755725 h 2752820"/>
                    <a:gd name="connsiteX63" fmla="*/ 532109 w 1206591"/>
                    <a:gd name="connsiteY63" fmla="*/ 1738613 h 2752820"/>
                    <a:gd name="connsiteX64" fmla="*/ 534084 w 1206591"/>
                    <a:gd name="connsiteY64" fmla="*/ 1736639 h 2752820"/>
                    <a:gd name="connsiteX65" fmla="*/ 534303 w 1206591"/>
                    <a:gd name="connsiteY65" fmla="*/ 1736200 h 2752820"/>
                    <a:gd name="connsiteX66" fmla="*/ 532109 w 1206591"/>
                    <a:gd name="connsiteY66" fmla="*/ 1735103 h 2752820"/>
                    <a:gd name="connsiteX67" fmla="*/ 501616 w 1206591"/>
                    <a:gd name="connsiteY67" fmla="*/ 1709874 h 2752820"/>
                    <a:gd name="connsiteX68" fmla="*/ 497008 w 1206591"/>
                    <a:gd name="connsiteY68" fmla="*/ 1687937 h 2752820"/>
                    <a:gd name="connsiteX69" fmla="*/ 531808 w 1206591"/>
                    <a:gd name="connsiteY69" fmla="*/ 1626564 h 2752820"/>
                    <a:gd name="connsiteX70" fmla="*/ 531822 w 1206591"/>
                    <a:gd name="connsiteY70" fmla="*/ 1627420 h 2752820"/>
                    <a:gd name="connsiteX71" fmla="*/ 532461 w 1206591"/>
                    <a:gd name="connsiteY71" fmla="*/ 1563126 h 2752820"/>
                    <a:gd name="connsiteX72" fmla="*/ 473315 w 1206591"/>
                    <a:gd name="connsiteY72" fmla="*/ 1495321 h 2752820"/>
                    <a:gd name="connsiteX73" fmla="*/ 471341 w 1206591"/>
                    <a:gd name="connsiteY73" fmla="*/ 1476454 h 2752820"/>
                    <a:gd name="connsiteX74" fmla="*/ 495253 w 1206591"/>
                    <a:gd name="connsiteY74" fmla="*/ 1441134 h 2752820"/>
                    <a:gd name="connsiteX75" fmla="*/ 463662 w 1206591"/>
                    <a:gd name="connsiteY75" fmla="*/ 1350750 h 2752820"/>
                    <a:gd name="connsiteX76" fmla="*/ 449841 w 1206591"/>
                    <a:gd name="connsiteY76" fmla="*/ 1348117 h 2752820"/>
                    <a:gd name="connsiteX77" fmla="*/ 437556 w 1206591"/>
                    <a:gd name="connsiteY77" fmla="*/ 1335173 h 2752820"/>
                    <a:gd name="connsiteX78" fmla="*/ 438214 w 1206591"/>
                    <a:gd name="connsiteY78" fmla="*/ 1311042 h 2752820"/>
                    <a:gd name="connsiteX79" fmla="*/ 422638 w 1206591"/>
                    <a:gd name="connsiteY79" fmla="*/ 1304021 h 2752820"/>
                    <a:gd name="connsiteX80" fmla="*/ 406404 w 1206591"/>
                    <a:gd name="connsiteY80" fmla="*/ 1304021 h 2752820"/>
                    <a:gd name="connsiteX81" fmla="*/ 348049 w 1206591"/>
                    <a:gd name="connsiteY81" fmla="*/ 1311041 h 2752820"/>
                    <a:gd name="connsiteX82" fmla="*/ 334447 w 1206591"/>
                    <a:gd name="connsiteY82" fmla="*/ 1296343 h 2752820"/>
                    <a:gd name="connsiteX83" fmla="*/ 338177 w 1206591"/>
                    <a:gd name="connsiteY83" fmla="*/ 1192356 h 2752820"/>
                    <a:gd name="connsiteX84" fmla="*/ 339472 w 1206591"/>
                    <a:gd name="connsiteY84" fmla="*/ 1143444 h 2752820"/>
                    <a:gd name="connsiteX85" fmla="*/ 265987 w 1206591"/>
                    <a:gd name="connsiteY85" fmla="*/ 1103558 h 2752820"/>
                    <a:gd name="connsiteX86" fmla="*/ 0 w 1206591"/>
                    <a:gd name="connsiteY86" fmla="*/ 603296 h 2752820"/>
                    <a:gd name="connsiteX87" fmla="*/ 47410 w 1206591"/>
                    <a:gd name="connsiteY87" fmla="*/ 368466 h 2752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1206591" h="2752820">
                      <a:moveTo>
                        <a:pt x="47410" y="368466"/>
                      </a:moveTo>
                      <a:cubicBezTo>
                        <a:pt x="138995" y="151934"/>
                        <a:pt x="353402" y="0"/>
                        <a:pt x="603296" y="0"/>
                      </a:cubicBezTo>
                      <a:cubicBezTo>
                        <a:pt x="686593" y="0"/>
                        <a:pt x="765948" y="16882"/>
                        <a:pt x="838125" y="47410"/>
                      </a:cubicBezTo>
                      <a:lnTo>
                        <a:pt x="897862" y="79833"/>
                      </a:lnTo>
                      <a:lnTo>
                        <a:pt x="803376" y="156473"/>
                      </a:lnTo>
                      <a:lnTo>
                        <a:pt x="703894" y="201995"/>
                      </a:lnTo>
                      <a:lnTo>
                        <a:pt x="665356" y="176012"/>
                      </a:lnTo>
                      <a:cubicBezTo>
                        <a:pt x="646281" y="167944"/>
                        <a:pt x="625309" y="163483"/>
                        <a:pt x="603296" y="163483"/>
                      </a:cubicBezTo>
                      <a:cubicBezTo>
                        <a:pt x="515241" y="163482"/>
                        <a:pt x="443859" y="234864"/>
                        <a:pt x="443859" y="322919"/>
                      </a:cubicBezTo>
                      <a:cubicBezTo>
                        <a:pt x="443859" y="410974"/>
                        <a:pt x="515241" y="482356"/>
                        <a:pt x="603296" y="482356"/>
                      </a:cubicBezTo>
                      <a:cubicBezTo>
                        <a:pt x="691351" y="482356"/>
                        <a:pt x="762733" y="410974"/>
                        <a:pt x="762733" y="322919"/>
                      </a:cubicBezTo>
                      <a:lnTo>
                        <a:pt x="753492" y="277148"/>
                      </a:lnTo>
                      <a:lnTo>
                        <a:pt x="785562" y="266006"/>
                      </a:lnTo>
                      <a:cubicBezTo>
                        <a:pt x="852084" y="235545"/>
                        <a:pt x="912483" y="192665"/>
                        <a:pt x="963332" y="139490"/>
                      </a:cubicBezTo>
                      <a:lnTo>
                        <a:pt x="972122" y="129039"/>
                      </a:lnTo>
                      <a:lnTo>
                        <a:pt x="1029890" y="176701"/>
                      </a:lnTo>
                      <a:cubicBezTo>
                        <a:pt x="1139065" y="285875"/>
                        <a:pt x="1206591" y="436699"/>
                        <a:pt x="1206591" y="603295"/>
                      </a:cubicBezTo>
                      <a:cubicBezTo>
                        <a:pt x="1206591" y="811540"/>
                        <a:pt x="1101081" y="995141"/>
                        <a:pt x="940604" y="1103558"/>
                      </a:cubicBezTo>
                      <a:lnTo>
                        <a:pt x="857670" y="1148573"/>
                      </a:lnTo>
                      <a:lnTo>
                        <a:pt x="857670" y="2588272"/>
                      </a:lnTo>
                      <a:cubicBezTo>
                        <a:pt x="857669" y="2591783"/>
                        <a:pt x="856792" y="2595512"/>
                        <a:pt x="858547" y="2599022"/>
                      </a:cubicBezTo>
                      <a:lnTo>
                        <a:pt x="853940" y="2605603"/>
                      </a:lnTo>
                      <a:cubicBezTo>
                        <a:pt x="832879" y="2625347"/>
                        <a:pt x="812258" y="2645530"/>
                        <a:pt x="792294" y="2666372"/>
                      </a:cubicBezTo>
                      <a:cubicBezTo>
                        <a:pt x="780667" y="2678657"/>
                        <a:pt x="768601" y="2690065"/>
                        <a:pt x="755438" y="2700595"/>
                      </a:cubicBezTo>
                      <a:lnTo>
                        <a:pt x="754564" y="2698017"/>
                      </a:lnTo>
                      <a:cubicBezTo>
                        <a:pt x="754563" y="2698072"/>
                        <a:pt x="754562" y="2698127"/>
                        <a:pt x="754561" y="2698182"/>
                      </a:cubicBezTo>
                      <a:cubicBezTo>
                        <a:pt x="754341" y="2699498"/>
                        <a:pt x="754342" y="2701034"/>
                        <a:pt x="753684" y="2702350"/>
                      </a:cubicBezTo>
                      <a:lnTo>
                        <a:pt x="710465" y="2745349"/>
                      </a:lnTo>
                      <a:cubicBezTo>
                        <a:pt x="705420" y="2750394"/>
                        <a:pt x="699058" y="2753027"/>
                        <a:pt x="691819" y="2752808"/>
                      </a:cubicBezTo>
                      <a:lnTo>
                        <a:pt x="657156" y="2751930"/>
                      </a:lnTo>
                      <a:cubicBezTo>
                        <a:pt x="657154" y="2750533"/>
                        <a:pt x="657151" y="2749136"/>
                        <a:pt x="657149" y="2747739"/>
                      </a:cubicBezTo>
                      <a:lnTo>
                        <a:pt x="655130" y="2750014"/>
                      </a:lnTo>
                      <a:cubicBezTo>
                        <a:pt x="653989" y="2750545"/>
                        <a:pt x="652385" y="2750724"/>
                        <a:pt x="650136" y="2750394"/>
                      </a:cubicBezTo>
                      <a:cubicBezTo>
                        <a:pt x="644213" y="2748639"/>
                        <a:pt x="640483" y="2744033"/>
                        <a:pt x="636754" y="2739645"/>
                      </a:cubicBezTo>
                      <a:lnTo>
                        <a:pt x="464979" y="2536499"/>
                      </a:lnTo>
                      <a:cubicBezTo>
                        <a:pt x="454668" y="2524433"/>
                        <a:pt x="455107" y="2516974"/>
                        <a:pt x="466076" y="2504909"/>
                      </a:cubicBezTo>
                      <a:cubicBezTo>
                        <a:pt x="482090" y="2487138"/>
                        <a:pt x="500298" y="2471343"/>
                        <a:pt x="512365" y="2450064"/>
                      </a:cubicBezTo>
                      <a:cubicBezTo>
                        <a:pt x="516313" y="2438216"/>
                        <a:pt x="514339" y="2426150"/>
                        <a:pt x="513461" y="2414304"/>
                      </a:cubicBezTo>
                      <a:cubicBezTo>
                        <a:pt x="509951" y="2368893"/>
                        <a:pt x="508635" y="2377229"/>
                        <a:pt x="542639" y="2356607"/>
                      </a:cubicBezTo>
                      <a:cubicBezTo>
                        <a:pt x="577960" y="2335108"/>
                        <a:pt x="612183" y="2312073"/>
                        <a:pt x="640702" y="2281579"/>
                      </a:cubicBezTo>
                      <a:cubicBezTo>
                        <a:pt x="646626" y="2275217"/>
                        <a:pt x="651672" y="2267978"/>
                        <a:pt x="657156" y="2261176"/>
                      </a:cubicBezTo>
                      <a:lnTo>
                        <a:pt x="659999" y="2263633"/>
                      </a:lnTo>
                      <a:cubicBezTo>
                        <a:pt x="660002" y="2262887"/>
                        <a:pt x="660005" y="2262142"/>
                        <a:pt x="660008" y="2261397"/>
                      </a:cubicBezTo>
                      <a:cubicBezTo>
                        <a:pt x="660008" y="2259421"/>
                        <a:pt x="660227" y="2257886"/>
                        <a:pt x="661105" y="2256131"/>
                      </a:cubicBezTo>
                      <a:cubicBezTo>
                        <a:pt x="669661" y="2238361"/>
                        <a:pt x="676681" y="2219933"/>
                        <a:pt x="679094" y="2199970"/>
                      </a:cubicBezTo>
                      <a:cubicBezTo>
                        <a:pt x="679752" y="2199751"/>
                        <a:pt x="680191" y="2199311"/>
                        <a:pt x="680850" y="2198873"/>
                      </a:cubicBezTo>
                      <a:cubicBezTo>
                        <a:pt x="682385" y="2190098"/>
                        <a:pt x="686992" y="2181103"/>
                        <a:pt x="678655" y="2173205"/>
                      </a:cubicBezTo>
                      <a:cubicBezTo>
                        <a:pt x="673390" y="2167940"/>
                        <a:pt x="668345" y="2162895"/>
                        <a:pt x="663080" y="2157849"/>
                      </a:cubicBezTo>
                      <a:cubicBezTo>
                        <a:pt x="663079" y="2157410"/>
                        <a:pt x="663299" y="2156752"/>
                        <a:pt x="663299" y="2156313"/>
                      </a:cubicBezTo>
                      <a:lnTo>
                        <a:pt x="663807" y="2151829"/>
                      </a:lnTo>
                      <a:lnTo>
                        <a:pt x="661325" y="2155874"/>
                      </a:lnTo>
                      <a:lnTo>
                        <a:pt x="582567" y="2089402"/>
                      </a:lnTo>
                      <a:lnTo>
                        <a:pt x="580320" y="2084265"/>
                      </a:lnTo>
                      <a:lnTo>
                        <a:pt x="577741" y="2085892"/>
                      </a:lnTo>
                      <a:lnTo>
                        <a:pt x="573792" y="2083259"/>
                      </a:lnTo>
                      <a:cubicBezTo>
                        <a:pt x="569185" y="2078872"/>
                        <a:pt x="564578" y="2074484"/>
                        <a:pt x="559971" y="2070316"/>
                      </a:cubicBezTo>
                      <a:cubicBezTo>
                        <a:pt x="564578" y="2059566"/>
                        <a:pt x="568526" y="2048817"/>
                        <a:pt x="575766" y="2039603"/>
                      </a:cubicBezTo>
                      <a:cubicBezTo>
                        <a:pt x="579423" y="2031814"/>
                        <a:pt x="581292" y="2034438"/>
                        <a:pt x="581909" y="2023588"/>
                      </a:cubicBezTo>
                      <a:cubicBezTo>
                        <a:pt x="581945" y="2012912"/>
                        <a:pt x="585052" y="1994118"/>
                        <a:pt x="575985" y="1975544"/>
                      </a:cubicBezTo>
                      <a:cubicBezTo>
                        <a:pt x="561725" y="1952948"/>
                        <a:pt x="543517" y="1933423"/>
                        <a:pt x="527502" y="1912143"/>
                      </a:cubicBezTo>
                      <a:cubicBezTo>
                        <a:pt x="524870" y="1902710"/>
                        <a:pt x="524870" y="1893057"/>
                        <a:pt x="527502" y="1883623"/>
                      </a:cubicBezTo>
                      <a:cubicBezTo>
                        <a:pt x="543078" y="1862563"/>
                        <a:pt x="554266" y="1839528"/>
                        <a:pt x="562164" y="1814738"/>
                      </a:cubicBezTo>
                      <a:cubicBezTo>
                        <a:pt x="566332" y="1791923"/>
                        <a:pt x="554925" y="1773934"/>
                        <a:pt x="543736" y="1755725"/>
                      </a:cubicBezTo>
                      <a:cubicBezTo>
                        <a:pt x="540226" y="1749801"/>
                        <a:pt x="536058" y="1744317"/>
                        <a:pt x="532109" y="1738613"/>
                      </a:cubicBezTo>
                      <a:cubicBezTo>
                        <a:pt x="531451" y="1736858"/>
                        <a:pt x="532109" y="1735981"/>
                        <a:pt x="534084" y="1736639"/>
                      </a:cubicBezTo>
                      <a:cubicBezTo>
                        <a:pt x="534303" y="1736420"/>
                        <a:pt x="534303" y="1736420"/>
                        <a:pt x="534303" y="1736200"/>
                      </a:cubicBezTo>
                      <a:cubicBezTo>
                        <a:pt x="533645" y="1735761"/>
                        <a:pt x="532987" y="1735542"/>
                        <a:pt x="532109" y="1735103"/>
                      </a:cubicBezTo>
                      <a:lnTo>
                        <a:pt x="501616" y="1709874"/>
                      </a:lnTo>
                      <a:cubicBezTo>
                        <a:pt x="493498" y="1703732"/>
                        <a:pt x="492621" y="1696712"/>
                        <a:pt x="497008" y="1687937"/>
                      </a:cubicBezTo>
                      <a:cubicBezTo>
                        <a:pt x="502040" y="1674052"/>
                        <a:pt x="526006" y="1636651"/>
                        <a:pt x="531808" y="1626564"/>
                      </a:cubicBezTo>
                      <a:cubicBezTo>
                        <a:pt x="531813" y="1626850"/>
                        <a:pt x="531817" y="1627134"/>
                        <a:pt x="531822" y="1627420"/>
                      </a:cubicBezTo>
                      <a:cubicBezTo>
                        <a:pt x="531931" y="1616847"/>
                        <a:pt x="542213" y="1585142"/>
                        <a:pt x="532461" y="1563126"/>
                      </a:cubicBezTo>
                      <a:lnTo>
                        <a:pt x="473315" y="1495321"/>
                      </a:lnTo>
                      <a:cubicBezTo>
                        <a:pt x="465417" y="1489837"/>
                        <a:pt x="466295" y="1483475"/>
                        <a:pt x="471341" y="1476454"/>
                      </a:cubicBezTo>
                      <a:cubicBezTo>
                        <a:pt x="479896" y="1465046"/>
                        <a:pt x="488233" y="1453638"/>
                        <a:pt x="495253" y="1441134"/>
                      </a:cubicBezTo>
                      <a:cubicBezTo>
                        <a:pt x="516972" y="1402742"/>
                        <a:pt x="504687" y="1367642"/>
                        <a:pt x="463662" y="1350750"/>
                      </a:cubicBezTo>
                      <a:cubicBezTo>
                        <a:pt x="459275" y="1348994"/>
                        <a:pt x="454668" y="1347678"/>
                        <a:pt x="449841" y="1348117"/>
                      </a:cubicBezTo>
                      <a:cubicBezTo>
                        <a:pt x="439969" y="1349213"/>
                        <a:pt x="436679" y="1344388"/>
                        <a:pt x="437556" y="1335173"/>
                      </a:cubicBezTo>
                      <a:cubicBezTo>
                        <a:pt x="438214" y="1327276"/>
                        <a:pt x="437995" y="1319159"/>
                        <a:pt x="438214" y="1311042"/>
                      </a:cubicBezTo>
                      <a:lnTo>
                        <a:pt x="422638" y="1304021"/>
                      </a:lnTo>
                      <a:lnTo>
                        <a:pt x="406404" y="1304021"/>
                      </a:lnTo>
                      <a:cubicBezTo>
                        <a:pt x="387098" y="1306873"/>
                        <a:pt x="368012" y="1312358"/>
                        <a:pt x="348049" y="1311041"/>
                      </a:cubicBezTo>
                      <a:cubicBezTo>
                        <a:pt x="334667" y="1310164"/>
                        <a:pt x="333789" y="1310164"/>
                        <a:pt x="334447" y="1296343"/>
                      </a:cubicBezTo>
                      <a:cubicBezTo>
                        <a:pt x="336422" y="1261680"/>
                        <a:pt x="337738" y="1227018"/>
                        <a:pt x="338177" y="1192356"/>
                      </a:cubicBezTo>
                      <a:lnTo>
                        <a:pt x="339472" y="1143444"/>
                      </a:lnTo>
                      <a:lnTo>
                        <a:pt x="265987" y="1103558"/>
                      </a:lnTo>
                      <a:cubicBezTo>
                        <a:pt x="105510" y="995141"/>
                        <a:pt x="0" y="811540"/>
                        <a:pt x="0" y="603296"/>
                      </a:cubicBezTo>
                      <a:cubicBezTo>
                        <a:pt x="0" y="519998"/>
                        <a:pt x="16882" y="440643"/>
                        <a:pt x="47410" y="368466"/>
                      </a:cubicBezTo>
                      <a:close/>
                    </a:path>
                  </a:pathLst>
                </a:custGeom>
                <a:ln>
                  <a:noFill/>
                </a:ln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6" name="Freeform: Shape 45">
                  <a:extLst>
                    <a:ext uri="{FF2B5EF4-FFF2-40B4-BE49-F238E27FC236}">
                      <a16:creationId xmlns="" xmlns:a16="http://schemas.microsoft.com/office/drawing/2014/main" id="{5876CE03-4B78-4E22-BA33-ADDCA5663A40}"/>
                    </a:ext>
                  </a:extLst>
                </p:cNvPr>
                <p:cNvSpPr/>
                <p:nvPr/>
              </p:nvSpPr>
              <p:spPr>
                <a:xfrm rot="3782544">
                  <a:off x="7649215" y="2933651"/>
                  <a:ext cx="1042230" cy="1042230"/>
                </a:xfrm>
                <a:custGeom>
                  <a:avLst/>
                  <a:gdLst>
                    <a:gd name="connsiteX0" fmla="*/ 40952 w 1042230"/>
                    <a:gd name="connsiteY0" fmla="*/ 318273 h 1042230"/>
                    <a:gd name="connsiteX1" fmla="*/ 521115 w 1042230"/>
                    <a:gd name="connsiteY1" fmla="*/ 0 h 1042230"/>
                    <a:gd name="connsiteX2" fmla="*/ 723956 w 1042230"/>
                    <a:gd name="connsiteY2" fmla="*/ 40952 h 1042230"/>
                    <a:gd name="connsiteX3" fmla="*/ 746927 w 1042230"/>
                    <a:gd name="connsiteY3" fmla="*/ 53420 h 1042230"/>
                    <a:gd name="connsiteX4" fmla="*/ 736019 w 1042230"/>
                    <a:gd name="connsiteY4" fmla="*/ 62267 h 1042230"/>
                    <a:gd name="connsiteX5" fmla="*/ 718881 w 1042230"/>
                    <a:gd name="connsiteY5" fmla="*/ 52966 h 1042230"/>
                    <a:gd name="connsiteX6" fmla="*/ 521115 w 1042230"/>
                    <a:gd name="connsiteY6" fmla="*/ 13038 h 1042230"/>
                    <a:gd name="connsiteX7" fmla="*/ 13038 w 1042230"/>
                    <a:gd name="connsiteY7" fmla="*/ 521115 h 1042230"/>
                    <a:gd name="connsiteX8" fmla="*/ 521115 w 1042230"/>
                    <a:gd name="connsiteY8" fmla="*/ 1029192 h 1042230"/>
                    <a:gd name="connsiteX9" fmla="*/ 1029192 w 1042230"/>
                    <a:gd name="connsiteY9" fmla="*/ 521115 h 1042230"/>
                    <a:gd name="connsiteX10" fmla="*/ 880380 w 1042230"/>
                    <a:gd name="connsiteY10" fmla="*/ 161850 h 1042230"/>
                    <a:gd name="connsiteX11" fmla="*/ 820062 w 1042230"/>
                    <a:gd name="connsiteY11" fmla="*/ 112084 h 1042230"/>
                    <a:gd name="connsiteX12" fmla="*/ 827246 w 1042230"/>
                    <a:gd name="connsiteY12" fmla="*/ 106974 h 1042230"/>
                    <a:gd name="connsiteX13" fmla="*/ 830561 w 1042230"/>
                    <a:gd name="connsiteY13" fmla="*/ 103920 h 1042230"/>
                    <a:gd name="connsiteX14" fmla="*/ 889599 w 1042230"/>
                    <a:gd name="connsiteY14" fmla="*/ 152631 h 1042230"/>
                    <a:gd name="connsiteX15" fmla="*/ 1042230 w 1042230"/>
                    <a:gd name="connsiteY15" fmla="*/ 521115 h 1042230"/>
                    <a:gd name="connsiteX16" fmla="*/ 521115 w 1042230"/>
                    <a:gd name="connsiteY16" fmla="*/ 1042230 h 1042230"/>
                    <a:gd name="connsiteX17" fmla="*/ 0 w 1042230"/>
                    <a:gd name="connsiteY17" fmla="*/ 521115 h 1042230"/>
                    <a:gd name="connsiteX18" fmla="*/ 40952 w 1042230"/>
                    <a:gd name="connsiteY18" fmla="*/ 318273 h 10422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42230" h="1042230">
                      <a:moveTo>
                        <a:pt x="40952" y="318273"/>
                      </a:moveTo>
                      <a:cubicBezTo>
                        <a:pt x="120061" y="131237"/>
                        <a:pt x="305262" y="0"/>
                        <a:pt x="521115" y="0"/>
                      </a:cubicBezTo>
                      <a:cubicBezTo>
                        <a:pt x="593066" y="0"/>
                        <a:pt x="661611" y="14582"/>
                        <a:pt x="723956" y="40952"/>
                      </a:cubicBezTo>
                      <a:lnTo>
                        <a:pt x="746927" y="53420"/>
                      </a:lnTo>
                      <a:lnTo>
                        <a:pt x="736019" y="62267"/>
                      </a:lnTo>
                      <a:lnTo>
                        <a:pt x="718881" y="52966"/>
                      </a:lnTo>
                      <a:cubicBezTo>
                        <a:pt x="658096" y="27255"/>
                        <a:pt x="591266" y="13038"/>
                        <a:pt x="521115" y="13038"/>
                      </a:cubicBezTo>
                      <a:cubicBezTo>
                        <a:pt x="240512" y="13038"/>
                        <a:pt x="13038" y="240512"/>
                        <a:pt x="13038" y="521115"/>
                      </a:cubicBezTo>
                      <a:cubicBezTo>
                        <a:pt x="13038" y="801718"/>
                        <a:pt x="240512" y="1029192"/>
                        <a:pt x="521115" y="1029192"/>
                      </a:cubicBezTo>
                      <a:cubicBezTo>
                        <a:pt x="801718" y="1029192"/>
                        <a:pt x="1029192" y="801718"/>
                        <a:pt x="1029192" y="521115"/>
                      </a:cubicBezTo>
                      <a:cubicBezTo>
                        <a:pt x="1029192" y="380813"/>
                        <a:pt x="972324" y="253794"/>
                        <a:pt x="880380" y="161850"/>
                      </a:cubicBezTo>
                      <a:lnTo>
                        <a:pt x="820062" y="112084"/>
                      </a:lnTo>
                      <a:lnTo>
                        <a:pt x="827246" y="106974"/>
                      </a:lnTo>
                      <a:lnTo>
                        <a:pt x="830561" y="103920"/>
                      </a:lnTo>
                      <a:lnTo>
                        <a:pt x="889599" y="152631"/>
                      </a:lnTo>
                      <a:cubicBezTo>
                        <a:pt x="983902" y="246934"/>
                        <a:pt x="1042230" y="377213"/>
                        <a:pt x="1042230" y="521115"/>
                      </a:cubicBezTo>
                      <a:cubicBezTo>
                        <a:pt x="1042230" y="808919"/>
                        <a:pt x="808919" y="1042230"/>
                        <a:pt x="521115" y="1042230"/>
                      </a:cubicBezTo>
                      <a:cubicBezTo>
                        <a:pt x="233311" y="1042230"/>
                        <a:pt x="0" y="808919"/>
                        <a:pt x="0" y="521115"/>
                      </a:cubicBezTo>
                      <a:cubicBezTo>
                        <a:pt x="0" y="449164"/>
                        <a:pt x="14582" y="380619"/>
                        <a:pt x="40952" y="31827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Freeform: Shape 33">
                  <a:extLst>
                    <a:ext uri="{FF2B5EF4-FFF2-40B4-BE49-F238E27FC236}">
                      <a16:creationId xmlns="" xmlns:a16="http://schemas.microsoft.com/office/drawing/2014/main" id="{C30CBA24-11B0-4AF9-A9DF-85A8B268F431}"/>
                    </a:ext>
                  </a:extLst>
                </p:cNvPr>
                <p:cNvSpPr/>
                <p:nvPr/>
              </p:nvSpPr>
              <p:spPr>
                <a:xfrm rot="3782544">
                  <a:off x="8299277" y="3109416"/>
                  <a:ext cx="182110" cy="318873"/>
                </a:xfrm>
                <a:custGeom>
                  <a:avLst/>
                  <a:gdLst>
                    <a:gd name="connsiteX0" fmla="*/ 332056 w 379278"/>
                    <a:gd name="connsiteY0" fmla="*/ 0 h 664112"/>
                    <a:gd name="connsiteX1" fmla="*/ 379278 w 379278"/>
                    <a:gd name="connsiteY1" fmla="*/ 4760 h 664112"/>
                    <a:gd name="connsiteX2" fmla="*/ 359578 w 379278"/>
                    <a:gd name="connsiteY2" fmla="*/ 6746 h 664112"/>
                    <a:gd name="connsiteX3" fmla="*/ 94443 w 379278"/>
                    <a:gd name="connsiteY3" fmla="*/ 332056 h 664112"/>
                    <a:gd name="connsiteX4" fmla="*/ 359578 w 379278"/>
                    <a:gd name="connsiteY4" fmla="*/ 657366 h 664112"/>
                    <a:gd name="connsiteX5" fmla="*/ 379278 w 379278"/>
                    <a:gd name="connsiteY5" fmla="*/ 659352 h 664112"/>
                    <a:gd name="connsiteX6" fmla="*/ 332056 w 379278"/>
                    <a:gd name="connsiteY6" fmla="*/ 664112 h 664112"/>
                    <a:gd name="connsiteX7" fmla="*/ 0 w 379278"/>
                    <a:gd name="connsiteY7" fmla="*/ 332056 h 664112"/>
                    <a:gd name="connsiteX8" fmla="*/ 332056 w 379278"/>
                    <a:gd name="connsiteY8" fmla="*/ 0 h 664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79278" h="664112">
                      <a:moveTo>
                        <a:pt x="332056" y="0"/>
                      </a:moveTo>
                      <a:lnTo>
                        <a:pt x="379278" y="4760"/>
                      </a:lnTo>
                      <a:lnTo>
                        <a:pt x="359578" y="6746"/>
                      </a:lnTo>
                      <a:cubicBezTo>
                        <a:pt x="208266" y="37709"/>
                        <a:pt x="94443" y="171591"/>
                        <a:pt x="94443" y="332056"/>
                      </a:cubicBezTo>
                      <a:cubicBezTo>
                        <a:pt x="94443" y="492522"/>
                        <a:pt x="208266" y="626403"/>
                        <a:pt x="359578" y="657366"/>
                      </a:cubicBezTo>
                      <a:lnTo>
                        <a:pt x="379278" y="659352"/>
                      </a:lnTo>
                      <a:lnTo>
                        <a:pt x="332056" y="664112"/>
                      </a:lnTo>
                      <a:cubicBezTo>
                        <a:pt x="148667" y="664112"/>
                        <a:pt x="0" y="515445"/>
                        <a:pt x="0" y="332056"/>
                      </a:cubicBezTo>
                      <a:cubicBezTo>
                        <a:pt x="0" y="148667"/>
                        <a:pt x="148667" y="0"/>
                        <a:pt x="332056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Freeform: Shape 34">
                  <a:extLst>
                    <a:ext uri="{FF2B5EF4-FFF2-40B4-BE49-F238E27FC236}">
                      <a16:creationId xmlns="" xmlns:a16="http://schemas.microsoft.com/office/drawing/2014/main" id="{F9D4EB33-7E53-4FD7-99D4-FBA24D9C3C9F}"/>
                    </a:ext>
                  </a:extLst>
                </p:cNvPr>
                <p:cNvSpPr/>
                <p:nvPr/>
              </p:nvSpPr>
              <p:spPr>
                <a:xfrm rot="19982544">
                  <a:off x="6859439" y="3733998"/>
                  <a:ext cx="826635" cy="142501"/>
                </a:xfrm>
                <a:custGeom>
                  <a:avLst/>
                  <a:gdLst>
                    <a:gd name="connsiteX0" fmla="*/ 1719934 w 1721618"/>
                    <a:gd name="connsiteY0" fmla="*/ 186524 h 296786"/>
                    <a:gd name="connsiteX1" fmla="*/ 1716717 w 1721618"/>
                    <a:gd name="connsiteY1" fmla="*/ 206230 h 296786"/>
                    <a:gd name="connsiteX2" fmla="*/ 1636285 w 1721618"/>
                    <a:gd name="connsiteY2" fmla="*/ 233976 h 296786"/>
                    <a:gd name="connsiteX3" fmla="*/ 1302459 w 1721618"/>
                    <a:gd name="connsiteY3" fmla="*/ 288285 h 296786"/>
                    <a:gd name="connsiteX4" fmla="*/ 1302459 w 1721618"/>
                    <a:gd name="connsiteY4" fmla="*/ 290112 h 296786"/>
                    <a:gd name="connsiteX5" fmla="*/ 1291028 w 1721618"/>
                    <a:gd name="connsiteY5" fmla="*/ 290145 h 296786"/>
                    <a:gd name="connsiteX6" fmla="*/ 1250349 w 1721618"/>
                    <a:gd name="connsiteY6" fmla="*/ 296763 h 296786"/>
                    <a:gd name="connsiteX7" fmla="*/ 1242101 w 1721618"/>
                    <a:gd name="connsiteY7" fmla="*/ 296786 h 296786"/>
                    <a:gd name="connsiteX8" fmla="*/ 1242101 w 1721618"/>
                    <a:gd name="connsiteY8" fmla="*/ 290284 h 296786"/>
                    <a:gd name="connsiteX9" fmla="*/ 690375 w 1721618"/>
                    <a:gd name="connsiteY9" fmla="*/ 291854 h 296786"/>
                    <a:gd name="connsiteX10" fmla="*/ 566098 w 1721618"/>
                    <a:gd name="connsiteY10" fmla="*/ 291854 h 296786"/>
                    <a:gd name="connsiteX11" fmla="*/ 528175 w 1721618"/>
                    <a:gd name="connsiteY11" fmla="*/ 294139 h 296786"/>
                    <a:gd name="connsiteX12" fmla="*/ 389278 w 1721618"/>
                    <a:gd name="connsiteY12" fmla="*/ 292311 h 296786"/>
                    <a:gd name="connsiteX13" fmla="*/ 258605 w 1721618"/>
                    <a:gd name="connsiteY13" fmla="*/ 294596 h 296786"/>
                    <a:gd name="connsiteX14" fmla="*/ 246726 w 1721618"/>
                    <a:gd name="connsiteY14" fmla="*/ 293225 h 296786"/>
                    <a:gd name="connsiteX15" fmla="*/ 238045 w 1721618"/>
                    <a:gd name="connsiteY15" fmla="*/ 294596 h 296786"/>
                    <a:gd name="connsiteX16" fmla="*/ 22389 w 1721618"/>
                    <a:gd name="connsiteY16" fmla="*/ 294596 h 296786"/>
                    <a:gd name="connsiteX17" fmla="*/ 0 w 1721618"/>
                    <a:gd name="connsiteY17" fmla="*/ 286372 h 296786"/>
                    <a:gd name="connsiteX18" fmla="*/ 132044 w 1721618"/>
                    <a:gd name="connsiteY18" fmla="*/ 185397 h 296786"/>
                    <a:gd name="connsiteX19" fmla="*/ 191441 w 1721618"/>
                    <a:gd name="connsiteY19" fmla="*/ 185397 h 296786"/>
                    <a:gd name="connsiteX20" fmla="*/ 334907 w 1721618"/>
                    <a:gd name="connsiteY20" fmla="*/ 257587 h 296786"/>
                    <a:gd name="connsiteX21" fmla="*/ 457813 w 1721618"/>
                    <a:gd name="connsiteY21" fmla="*/ 219208 h 296786"/>
                    <a:gd name="connsiteX22" fmla="*/ 493451 w 1721618"/>
                    <a:gd name="connsiteY22" fmla="*/ 194992 h 296786"/>
                    <a:gd name="connsiteX23" fmla="*/ 497563 w 1721618"/>
                    <a:gd name="connsiteY23" fmla="*/ 199104 h 296786"/>
                    <a:gd name="connsiteX24" fmla="*/ 498477 w 1721618"/>
                    <a:gd name="connsiteY24" fmla="*/ 199561 h 296786"/>
                    <a:gd name="connsiteX25" fmla="*/ 500761 w 1721618"/>
                    <a:gd name="connsiteY25" fmla="*/ 194992 h 296786"/>
                    <a:gd name="connsiteX26" fmla="*/ 543710 w 1721618"/>
                    <a:gd name="connsiteY26" fmla="*/ 192708 h 296786"/>
                    <a:gd name="connsiteX27" fmla="*/ 759366 w 1721618"/>
                    <a:gd name="connsiteY27" fmla="*/ 198647 h 296786"/>
                    <a:gd name="connsiteX28" fmla="*/ 984161 w 1721618"/>
                    <a:gd name="connsiteY28" fmla="*/ 197277 h 296786"/>
                    <a:gd name="connsiteX29" fmla="*/ 1242101 w 1721618"/>
                    <a:gd name="connsiteY29" fmla="*/ 198935 h 296786"/>
                    <a:gd name="connsiteX30" fmla="*/ 1242101 w 1721618"/>
                    <a:gd name="connsiteY30" fmla="*/ 175116 h 296786"/>
                    <a:gd name="connsiteX31" fmla="*/ 1250166 w 1721618"/>
                    <a:gd name="connsiteY31" fmla="*/ 171542 h 296786"/>
                    <a:gd name="connsiteX32" fmla="*/ 1254640 w 1721618"/>
                    <a:gd name="connsiteY32" fmla="*/ 163599 h 296786"/>
                    <a:gd name="connsiteX33" fmla="*/ 1273943 w 1721618"/>
                    <a:gd name="connsiteY33" fmla="*/ 122980 h 296786"/>
                    <a:gd name="connsiteX34" fmla="*/ 1281986 w 1721618"/>
                    <a:gd name="connsiteY34" fmla="*/ 98853 h 296786"/>
                    <a:gd name="connsiteX35" fmla="*/ 1288421 w 1721618"/>
                    <a:gd name="connsiteY35" fmla="*/ 77538 h 296786"/>
                    <a:gd name="connsiteX36" fmla="*/ 1288019 w 1721618"/>
                    <a:gd name="connsiteY36" fmla="*/ 77135 h 296786"/>
                    <a:gd name="connsiteX37" fmla="*/ 1298475 w 1721618"/>
                    <a:gd name="connsiteY37" fmla="*/ 34910 h 296786"/>
                    <a:gd name="connsiteX38" fmla="*/ 1302497 w 1721618"/>
                    <a:gd name="connsiteY38" fmla="*/ 23247 h 296786"/>
                    <a:gd name="connsiteX39" fmla="*/ 1307322 w 1721618"/>
                    <a:gd name="connsiteY39" fmla="*/ 7161 h 296786"/>
                    <a:gd name="connsiteX40" fmla="*/ 1360408 w 1721618"/>
                    <a:gd name="connsiteY40" fmla="*/ 727 h 296786"/>
                    <a:gd name="connsiteX41" fmla="*/ 1508802 w 1721618"/>
                    <a:gd name="connsiteY41" fmla="*/ 1128 h 296786"/>
                    <a:gd name="connsiteX42" fmla="*/ 1580386 w 1721618"/>
                    <a:gd name="connsiteY42" fmla="*/ 14801 h 296786"/>
                    <a:gd name="connsiteX43" fmla="*/ 1604113 w 1721618"/>
                    <a:gd name="connsiteY43" fmla="*/ 34910 h 296786"/>
                    <a:gd name="connsiteX44" fmla="*/ 1640307 w 1721618"/>
                    <a:gd name="connsiteY44" fmla="*/ 71102 h 296786"/>
                    <a:gd name="connsiteX45" fmla="*/ 1660416 w 1721618"/>
                    <a:gd name="connsiteY45" fmla="*/ 90810 h 296786"/>
                    <a:gd name="connsiteX46" fmla="*/ 1712293 w 1721618"/>
                    <a:gd name="connsiteY46" fmla="*/ 151936 h 296786"/>
                    <a:gd name="connsiteX47" fmla="*/ 1719934 w 1721618"/>
                    <a:gd name="connsiteY47" fmla="*/ 186524 h 296786"/>
                    <a:gd name="connsiteX0" fmla="*/ 1719934 w 1721618"/>
                    <a:gd name="connsiteY0" fmla="*/ 186524 h 296786"/>
                    <a:gd name="connsiteX1" fmla="*/ 1716717 w 1721618"/>
                    <a:gd name="connsiteY1" fmla="*/ 206230 h 296786"/>
                    <a:gd name="connsiteX2" fmla="*/ 1636285 w 1721618"/>
                    <a:gd name="connsiteY2" fmla="*/ 233976 h 296786"/>
                    <a:gd name="connsiteX3" fmla="*/ 1302459 w 1721618"/>
                    <a:gd name="connsiteY3" fmla="*/ 288285 h 296786"/>
                    <a:gd name="connsiteX4" fmla="*/ 1302459 w 1721618"/>
                    <a:gd name="connsiteY4" fmla="*/ 290112 h 296786"/>
                    <a:gd name="connsiteX5" fmla="*/ 1291028 w 1721618"/>
                    <a:gd name="connsiteY5" fmla="*/ 290145 h 296786"/>
                    <a:gd name="connsiteX6" fmla="*/ 1250349 w 1721618"/>
                    <a:gd name="connsiteY6" fmla="*/ 296763 h 296786"/>
                    <a:gd name="connsiteX7" fmla="*/ 1242101 w 1721618"/>
                    <a:gd name="connsiteY7" fmla="*/ 296786 h 296786"/>
                    <a:gd name="connsiteX8" fmla="*/ 1242101 w 1721618"/>
                    <a:gd name="connsiteY8" fmla="*/ 290284 h 296786"/>
                    <a:gd name="connsiteX9" fmla="*/ 690375 w 1721618"/>
                    <a:gd name="connsiteY9" fmla="*/ 291854 h 296786"/>
                    <a:gd name="connsiteX10" fmla="*/ 566098 w 1721618"/>
                    <a:gd name="connsiteY10" fmla="*/ 291854 h 296786"/>
                    <a:gd name="connsiteX11" fmla="*/ 528175 w 1721618"/>
                    <a:gd name="connsiteY11" fmla="*/ 294139 h 296786"/>
                    <a:gd name="connsiteX12" fmla="*/ 389278 w 1721618"/>
                    <a:gd name="connsiteY12" fmla="*/ 292311 h 296786"/>
                    <a:gd name="connsiteX13" fmla="*/ 258605 w 1721618"/>
                    <a:gd name="connsiteY13" fmla="*/ 294596 h 296786"/>
                    <a:gd name="connsiteX14" fmla="*/ 246726 w 1721618"/>
                    <a:gd name="connsiteY14" fmla="*/ 293225 h 296786"/>
                    <a:gd name="connsiteX15" fmla="*/ 238045 w 1721618"/>
                    <a:gd name="connsiteY15" fmla="*/ 294596 h 296786"/>
                    <a:gd name="connsiteX16" fmla="*/ 22389 w 1721618"/>
                    <a:gd name="connsiteY16" fmla="*/ 294596 h 296786"/>
                    <a:gd name="connsiteX17" fmla="*/ 0 w 1721618"/>
                    <a:gd name="connsiteY17" fmla="*/ 286372 h 296786"/>
                    <a:gd name="connsiteX18" fmla="*/ 132044 w 1721618"/>
                    <a:gd name="connsiteY18" fmla="*/ 185397 h 296786"/>
                    <a:gd name="connsiteX19" fmla="*/ 191441 w 1721618"/>
                    <a:gd name="connsiteY19" fmla="*/ 185397 h 296786"/>
                    <a:gd name="connsiteX20" fmla="*/ 334907 w 1721618"/>
                    <a:gd name="connsiteY20" fmla="*/ 257587 h 296786"/>
                    <a:gd name="connsiteX21" fmla="*/ 457813 w 1721618"/>
                    <a:gd name="connsiteY21" fmla="*/ 219208 h 296786"/>
                    <a:gd name="connsiteX22" fmla="*/ 493451 w 1721618"/>
                    <a:gd name="connsiteY22" fmla="*/ 194992 h 296786"/>
                    <a:gd name="connsiteX23" fmla="*/ 497563 w 1721618"/>
                    <a:gd name="connsiteY23" fmla="*/ 199104 h 296786"/>
                    <a:gd name="connsiteX24" fmla="*/ 498477 w 1721618"/>
                    <a:gd name="connsiteY24" fmla="*/ 199561 h 296786"/>
                    <a:gd name="connsiteX25" fmla="*/ 500761 w 1721618"/>
                    <a:gd name="connsiteY25" fmla="*/ 194992 h 296786"/>
                    <a:gd name="connsiteX26" fmla="*/ 543710 w 1721618"/>
                    <a:gd name="connsiteY26" fmla="*/ 192708 h 296786"/>
                    <a:gd name="connsiteX27" fmla="*/ 759366 w 1721618"/>
                    <a:gd name="connsiteY27" fmla="*/ 198647 h 296786"/>
                    <a:gd name="connsiteX28" fmla="*/ 984161 w 1721618"/>
                    <a:gd name="connsiteY28" fmla="*/ 197277 h 296786"/>
                    <a:gd name="connsiteX29" fmla="*/ 1242101 w 1721618"/>
                    <a:gd name="connsiteY29" fmla="*/ 198935 h 296786"/>
                    <a:gd name="connsiteX30" fmla="*/ 1242101 w 1721618"/>
                    <a:gd name="connsiteY30" fmla="*/ 175116 h 296786"/>
                    <a:gd name="connsiteX31" fmla="*/ 1254640 w 1721618"/>
                    <a:gd name="connsiteY31" fmla="*/ 163599 h 296786"/>
                    <a:gd name="connsiteX32" fmla="*/ 1273943 w 1721618"/>
                    <a:gd name="connsiteY32" fmla="*/ 122980 h 296786"/>
                    <a:gd name="connsiteX33" fmla="*/ 1281986 w 1721618"/>
                    <a:gd name="connsiteY33" fmla="*/ 98853 h 296786"/>
                    <a:gd name="connsiteX34" fmla="*/ 1288421 w 1721618"/>
                    <a:gd name="connsiteY34" fmla="*/ 77538 h 296786"/>
                    <a:gd name="connsiteX35" fmla="*/ 1288019 w 1721618"/>
                    <a:gd name="connsiteY35" fmla="*/ 77135 h 296786"/>
                    <a:gd name="connsiteX36" fmla="*/ 1298475 w 1721618"/>
                    <a:gd name="connsiteY36" fmla="*/ 34910 h 296786"/>
                    <a:gd name="connsiteX37" fmla="*/ 1302497 w 1721618"/>
                    <a:gd name="connsiteY37" fmla="*/ 23247 h 296786"/>
                    <a:gd name="connsiteX38" fmla="*/ 1307322 w 1721618"/>
                    <a:gd name="connsiteY38" fmla="*/ 7161 h 296786"/>
                    <a:gd name="connsiteX39" fmla="*/ 1360408 w 1721618"/>
                    <a:gd name="connsiteY39" fmla="*/ 727 h 296786"/>
                    <a:gd name="connsiteX40" fmla="*/ 1508802 w 1721618"/>
                    <a:gd name="connsiteY40" fmla="*/ 1128 h 296786"/>
                    <a:gd name="connsiteX41" fmla="*/ 1580386 w 1721618"/>
                    <a:gd name="connsiteY41" fmla="*/ 14801 h 296786"/>
                    <a:gd name="connsiteX42" fmla="*/ 1604113 w 1721618"/>
                    <a:gd name="connsiteY42" fmla="*/ 34910 h 296786"/>
                    <a:gd name="connsiteX43" fmla="*/ 1640307 w 1721618"/>
                    <a:gd name="connsiteY43" fmla="*/ 71102 h 296786"/>
                    <a:gd name="connsiteX44" fmla="*/ 1660416 w 1721618"/>
                    <a:gd name="connsiteY44" fmla="*/ 90810 h 296786"/>
                    <a:gd name="connsiteX45" fmla="*/ 1712293 w 1721618"/>
                    <a:gd name="connsiteY45" fmla="*/ 151936 h 296786"/>
                    <a:gd name="connsiteX46" fmla="*/ 1719934 w 1721618"/>
                    <a:gd name="connsiteY46" fmla="*/ 186524 h 296786"/>
                    <a:gd name="connsiteX0" fmla="*/ 1719934 w 1721618"/>
                    <a:gd name="connsiteY0" fmla="*/ 186524 h 296786"/>
                    <a:gd name="connsiteX1" fmla="*/ 1716717 w 1721618"/>
                    <a:gd name="connsiteY1" fmla="*/ 206230 h 296786"/>
                    <a:gd name="connsiteX2" fmla="*/ 1636285 w 1721618"/>
                    <a:gd name="connsiteY2" fmla="*/ 233976 h 296786"/>
                    <a:gd name="connsiteX3" fmla="*/ 1302459 w 1721618"/>
                    <a:gd name="connsiteY3" fmla="*/ 288285 h 296786"/>
                    <a:gd name="connsiteX4" fmla="*/ 1302459 w 1721618"/>
                    <a:gd name="connsiteY4" fmla="*/ 290112 h 296786"/>
                    <a:gd name="connsiteX5" fmla="*/ 1291028 w 1721618"/>
                    <a:gd name="connsiteY5" fmla="*/ 290145 h 296786"/>
                    <a:gd name="connsiteX6" fmla="*/ 1250349 w 1721618"/>
                    <a:gd name="connsiteY6" fmla="*/ 296763 h 296786"/>
                    <a:gd name="connsiteX7" fmla="*/ 1242101 w 1721618"/>
                    <a:gd name="connsiteY7" fmla="*/ 296786 h 296786"/>
                    <a:gd name="connsiteX8" fmla="*/ 1242101 w 1721618"/>
                    <a:gd name="connsiteY8" fmla="*/ 290284 h 296786"/>
                    <a:gd name="connsiteX9" fmla="*/ 690375 w 1721618"/>
                    <a:gd name="connsiteY9" fmla="*/ 291854 h 296786"/>
                    <a:gd name="connsiteX10" fmla="*/ 566098 w 1721618"/>
                    <a:gd name="connsiteY10" fmla="*/ 291854 h 296786"/>
                    <a:gd name="connsiteX11" fmla="*/ 528175 w 1721618"/>
                    <a:gd name="connsiteY11" fmla="*/ 294139 h 296786"/>
                    <a:gd name="connsiteX12" fmla="*/ 389278 w 1721618"/>
                    <a:gd name="connsiteY12" fmla="*/ 292311 h 296786"/>
                    <a:gd name="connsiteX13" fmla="*/ 258605 w 1721618"/>
                    <a:gd name="connsiteY13" fmla="*/ 294596 h 296786"/>
                    <a:gd name="connsiteX14" fmla="*/ 246726 w 1721618"/>
                    <a:gd name="connsiteY14" fmla="*/ 293225 h 296786"/>
                    <a:gd name="connsiteX15" fmla="*/ 238045 w 1721618"/>
                    <a:gd name="connsiteY15" fmla="*/ 294596 h 296786"/>
                    <a:gd name="connsiteX16" fmla="*/ 22389 w 1721618"/>
                    <a:gd name="connsiteY16" fmla="*/ 294596 h 296786"/>
                    <a:gd name="connsiteX17" fmla="*/ 0 w 1721618"/>
                    <a:gd name="connsiteY17" fmla="*/ 286372 h 296786"/>
                    <a:gd name="connsiteX18" fmla="*/ 132044 w 1721618"/>
                    <a:gd name="connsiteY18" fmla="*/ 185397 h 296786"/>
                    <a:gd name="connsiteX19" fmla="*/ 191441 w 1721618"/>
                    <a:gd name="connsiteY19" fmla="*/ 185397 h 296786"/>
                    <a:gd name="connsiteX20" fmla="*/ 334907 w 1721618"/>
                    <a:gd name="connsiteY20" fmla="*/ 257587 h 296786"/>
                    <a:gd name="connsiteX21" fmla="*/ 457813 w 1721618"/>
                    <a:gd name="connsiteY21" fmla="*/ 219208 h 296786"/>
                    <a:gd name="connsiteX22" fmla="*/ 493451 w 1721618"/>
                    <a:gd name="connsiteY22" fmla="*/ 194992 h 296786"/>
                    <a:gd name="connsiteX23" fmla="*/ 497563 w 1721618"/>
                    <a:gd name="connsiteY23" fmla="*/ 199104 h 296786"/>
                    <a:gd name="connsiteX24" fmla="*/ 498477 w 1721618"/>
                    <a:gd name="connsiteY24" fmla="*/ 199561 h 296786"/>
                    <a:gd name="connsiteX25" fmla="*/ 500761 w 1721618"/>
                    <a:gd name="connsiteY25" fmla="*/ 194992 h 296786"/>
                    <a:gd name="connsiteX26" fmla="*/ 543710 w 1721618"/>
                    <a:gd name="connsiteY26" fmla="*/ 192708 h 296786"/>
                    <a:gd name="connsiteX27" fmla="*/ 759366 w 1721618"/>
                    <a:gd name="connsiteY27" fmla="*/ 198647 h 296786"/>
                    <a:gd name="connsiteX28" fmla="*/ 984161 w 1721618"/>
                    <a:gd name="connsiteY28" fmla="*/ 197277 h 296786"/>
                    <a:gd name="connsiteX29" fmla="*/ 1242101 w 1721618"/>
                    <a:gd name="connsiteY29" fmla="*/ 198935 h 296786"/>
                    <a:gd name="connsiteX30" fmla="*/ 1254640 w 1721618"/>
                    <a:gd name="connsiteY30" fmla="*/ 163599 h 296786"/>
                    <a:gd name="connsiteX31" fmla="*/ 1273943 w 1721618"/>
                    <a:gd name="connsiteY31" fmla="*/ 122980 h 296786"/>
                    <a:gd name="connsiteX32" fmla="*/ 1281986 w 1721618"/>
                    <a:gd name="connsiteY32" fmla="*/ 98853 h 296786"/>
                    <a:gd name="connsiteX33" fmla="*/ 1288421 w 1721618"/>
                    <a:gd name="connsiteY33" fmla="*/ 77538 h 296786"/>
                    <a:gd name="connsiteX34" fmla="*/ 1288019 w 1721618"/>
                    <a:gd name="connsiteY34" fmla="*/ 77135 h 296786"/>
                    <a:gd name="connsiteX35" fmla="*/ 1298475 w 1721618"/>
                    <a:gd name="connsiteY35" fmla="*/ 34910 h 296786"/>
                    <a:gd name="connsiteX36" fmla="*/ 1302497 w 1721618"/>
                    <a:gd name="connsiteY36" fmla="*/ 23247 h 296786"/>
                    <a:gd name="connsiteX37" fmla="*/ 1307322 w 1721618"/>
                    <a:gd name="connsiteY37" fmla="*/ 7161 h 296786"/>
                    <a:gd name="connsiteX38" fmla="*/ 1360408 w 1721618"/>
                    <a:gd name="connsiteY38" fmla="*/ 727 h 296786"/>
                    <a:gd name="connsiteX39" fmla="*/ 1508802 w 1721618"/>
                    <a:gd name="connsiteY39" fmla="*/ 1128 h 296786"/>
                    <a:gd name="connsiteX40" fmla="*/ 1580386 w 1721618"/>
                    <a:gd name="connsiteY40" fmla="*/ 14801 h 296786"/>
                    <a:gd name="connsiteX41" fmla="*/ 1604113 w 1721618"/>
                    <a:gd name="connsiteY41" fmla="*/ 34910 h 296786"/>
                    <a:gd name="connsiteX42" fmla="*/ 1640307 w 1721618"/>
                    <a:gd name="connsiteY42" fmla="*/ 71102 h 296786"/>
                    <a:gd name="connsiteX43" fmla="*/ 1660416 w 1721618"/>
                    <a:gd name="connsiteY43" fmla="*/ 90810 h 296786"/>
                    <a:gd name="connsiteX44" fmla="*/ 1712293 w 1721618"/>
                    <a:gd name="connsiteY44" fmla="*/ 151936 h 296786"/>
                    <a:gd name="connsiteX45" fmla="*/ 1719934 w 1721618"/>
                    <a:gd name="connsiteY45" fmla="*/ 186524 h 296786"/>
                    <a:gd name="connsiteX0" fmla="*/ 1719934 w 1721618"/>
                    <a:gd name="connsiteY0" fmla="*/ 186524 h 296786"/>
                    <a:gd name="connsiteX1" fmla="*/ 1716717 w 1721618"/>
                    <a:gd name="connsiteY1" fmla="*/ 206230 h 296786"/>
                    <a:gd name="connsiteX2" fmla="*/ 1636285 w 1721618"/>
                    <a:gd name="connsiteY2" fmla="*/ 233976 h 296786"/>
                    <a:gd name="connsiteX3" fmla="*/ 1302459 w 1721618"/>
                    <a:gd name="connsiteY3" fmla="*/ 288285 h 296786"/>
                    <a:gd name="connsiteX4" fmla="*/ 1302459 w 1721618"/>
                    <a:gd name="connsiteY4" fmla="*/ 290112 h 296786"/>
                    <a:gd name="connsiteX5" fmla="*/ 1291028 w 1721618"/>
                    <a:gd name="connsiteY5" fmla="*/ 290145 h 296786"/>
                    <a:gd name="connsiteX6" fmla="*/ 1250349 w 1721618"/>
                    <a:gd name="connsiteY6" fmla="*/ 296763 h 296786"/>
                    <a:gd name="connsiteX7" fmla="*/ 1242101 w 1721618"/>
                    <a:gd name="connsiteY7" fmla="*/ 296786 h 296786"/>
                    <a:gd name="connsiteX8" fmla="*/ 1242101 w 1721618"/>
                    <a:gd name="connsiteY8" fmla="*/ 290284 h 296786"/>
                    <a:gd name="connsiteX9" fmla="*/ 690375 w 1721618"/>
                    <a:gd name="connsiteY9" fmla="*/ 291854 h 296786"/>
                    <a:gd name="connsiteX10" fmla="*/ 566098 w 1721618"/>
                    <a:gd name="connsiteY10" fmla="*/ 291854 h 296786"/>
                    <a:gd name="connsiteX11" fmla="*/ 528175 w 1721618"/>
                    <a:gd name="connsiteY11" fmla="*/ 294139 h 296786"/>
                    <a:gd name="connsiteX12" fmla="*/ 389278 w 1721618"/>
                    <a:gd name="connsiteY12" fmla="*/ 292311 h 296786"/>
                    <a:gd name="connsiteX13" fmla="*/ 258605 w 1721618"/>
                    <a:gd name="connsiteY13" fmla="*/ 294596 h 296786"/>
                    <a:gd name="connsiteX14" fmla="*/ 246726 w 1721618"/>
                    <a:gd name="connsiteY14" fmla="*/ 293225 h 296786"/>
                    <a:gd name="connsiteX15" fmla="*/ 238045 w 1721618"/>
                    <a:gd name="connsiteY15" fmla="*/ 294596 h 296786"/>
                    <a:gd name="connsiteX16" fmla="*/ 22389 w 1721618"/>
                    <a:gd name="connsiteY16" fmla="*/ 294596 h 296786"/>
                    <a:gd name="connsiteX17" fmla="*/ 0 w 1721618"/>
                    <a:gd name="connsiteY17" fmla="*/ 286372 h 296786"/>
                    <a:gd name="connsiteX18" fmla="*/ 132044 w 1721618"/>
                    <a:gd name="connsiteY18" fmla="*/ 185397 h 296786"/>
                    <a:gd name="connsiteX19" fmla="*/ 191441 w 1721618"/>
                    <a:gd name="connsiteY19" fmla="*/ 185397 h 296786"/>
                    <a:gd name="connsiteX20" fmla="*/ 334907 w 1721618"/>
                    <a:gd name="connsiteY20" fmla="*/ 257587 h 296786"/>
                    <a:gd name="connsiteX21" fmla="*/ 457813 w 1721618"/>
                    <a:gd name="connsiteY21" fmla="*/ 219208 h 296786"/>
                    <a:gd name="connsiteX22" fmla="*/ 493451 w 1721618"/>
                    <a:gd name="connsiteY22" fmla="*/ 194992 h 296786"/>
                    <a:gd name="connsiteX23" fmla="*/ 497563 w 1721618"/>
                    <a:gd name="connsiteY23" fmla="*/ 199104 h 296786"/>
                    <a:gd name="connsiteX24" fmla="*/ 498477 w 1721618"/>
                    <a:gd name="connsiteY24" fmla="*/ 199561 h 296786"/>
                    <a:gd name="connsiteX25" fmla="*/ 500761 w 1721618"/>
                    <a:gd name="connsiteY25" fmla="*/ 194992 h 296786"/>
                    <a:gd name="connsiteX26" fmla="*/ 543710 w 1721618"/>
                    <a:gd name="connsiteY26" fmla="*/ 192708 h 296786"/>
                    <a:gd name="connsiteX27" fmla="*/ 759366 w 1721618"/>
                    <a:gd name="connsiteY27" fmla="*/ 198647 h 296786"/>
                    <a:gd name="connsiteX28" fmla="*/ 984161 w 1721618"/>
                    <a:gd name="connsiteY28" fmla="*/ 197277 h 296786"/>
                    <a:gd name="connsiteX29" fmla="*/ 1242101 w 1721618"/>
                    <a:gd name="connsiteY29" fmla="*/ 198935 h 296786"/>
                    <a:gd name="connsiteX30" fmla="*/ 1273943 w 1721618"/>
                    <a:gd name="connsiteY30" fmla="*/ 122980 h 296786"/>
                    <a:gd name="connsiteX31" fmla="*/ 1281986 w 1721618"/>
                    <a:gd name="connsiteY31" fmla="*/ 98853 h 296786"/>
                    <a:gd name="connsiteX32" fmla="*/ 1288421 w 1721618"/>
                    <a:gd name="connsiteY32" fmla="*/ 77538 h 296786"/>
                    <a:gd name="connsiteX33" fmla="*/ 1288019 w 1721618"/>
                    <a:gd name="connsiteY33" fmla="*/ 77135 h 296786"/>
                    <a:gd name="connsiteX34" fmla="*/ 1298475 w 1721618"/>
                    <a:gd name="connsiteY34" fmla="*/ 34910 h 296786"/>
                    <a:gd name="connsiteX35" fmla="*/ 1302497 w 1721618"/>
                    <a:gd name="connsiteY35" fmla="*/ 23247 h 296786"/>
                    <a:gd name="connsiteX36" fmla="*/ 1307322 w 1721618"/>
                    <a:gd name="connsiteY36" fmla="*/ 7161 h 296786"/>
                    <a:gd name="connsiteX37" fmla="*/ 1360408 w 1721618"/>
                    <a:gd name="connsiteY37" fmla="*/ 727 h 296786"/>
                    <a:gd name="connsiteX38" fmla="*/ 1508802 w 1721618"/>
                    <a:gd name="connsiteY38" fmla="*/ 1128 h 296786"/>
                    <a:gd name="connsiteX39" fmla="*/ 1580386 w 1721618"/>
                    <a:gd name="connsiteY39" fmla="*/ 14801 h 296786"/>
                    <a:gd name="connsiteX40" fmla="*/ 1604113 w 1721618"/>
                    <a:gd name="connsiteY40" fmla="*/ 34910 h 296786"/>
                    <a:gd name="connsiteX41" fmla="*/ 1640307 w 1721618"/>
                    <a:gd name="connsiteY41" fmla="*/ 71102 h 296786"/>
                    <a:gd name="connsiteX42" fmla="*/ 1660416 w 1721618"/>
                    <a:gd name="connsiteY42" fmla="*/ 90810 h 296786"/>
                    <a:gd name="connsiteX43" fmla="*/ 1712293 w 1721618"/>
                    <a:gd name="connsiteY43" fmla="*/ 151936 h 296786"/>
                    <a:gd name="connsiteX44" fmla="*/ 1719934 w 1721618"/>
                    <a:gd name="connsiteY44" fmla="*/ 186524 h 296786"/>
                    <a:gd name="connsiteX0" fmla="*/ 1719934 w 1721618"/>
                    <a:gd name="connsiteY0" fmla="*/ 186524 h 296786"/>
                    <a:gd name="connsiteX1" fmla="*/ 1716717 w 1721618"/>
                    <a:gd name="connsiteY1" fmla="*/ 206230 h 296786"/>
                    <a:gd name="connsiteX2" fmla="*/ 1636285 w 1721618"/>
                    <a:gd name="connsiteY2" fmla="*/ 233976 h 296786"/>
                    <a:gd name="connsiteX3" fmla="*/ 1302459 w 1721618"/>
                    <a:gd name="connsiteY3" fmla="*/ 288285 h 296786"/>
                    <a:gd name="connsiteX4" fmla="*/ 1302459 w 1721618"/>
                    <a:gd name="connsiteY4" fmla="*/ 290112 h 296786"/>
                    <a:gd name="connsiteX5" fmla="*/ 1250349 w 1721618"/>
                    <a:gd name="connsiteY5" fmla="*/ 296763 h 296786"/>
                    <a:gd name="connsiteX6" fmla="*/ 1242101 w 1721618"/>
                    <a:gd name="connsiteY6" fmla="*/ 296786 h 296786"/>
                    <a:gd name="connsiteX7" fmla="*/ 1242101 w 1721618"/>
                    <a:gd name="connsiteY7" fmla="*/ 290284 h 296786"/>
                    <a:gd name="connsiteX8" fmla="*/ 690375 w 1721618"/>
                    <a:gd name="connsiteY8" fmla="*/ 291854 h 296786"/>
                    <a:gd name="connsiteX9" fmla="*/ 566098 w 1721618"/>
                    <a:gd name="connsiteY9" fmla="*/ 291854 h 296786"/>
                    <a:gd name="connsiteX10" fmla="*/ 528175 w 1721618"/>
                    <a:gd name="connsiteY10" fmla="*/ 294139 h 296786"/>
                    <a:gd name="connsiteX11" fmla="*/ 389278 w 1721618"/>
                    <a:gd name="connsiteY11" fmla="*/ 292311 h 296786"/>
                    <a:gd name="connsiteX12" fmla="*/ 258605 w 1721618"/>
                    <a:gd name="connsiteY12" fmla="*/ 294596 h 296786"/>
                    <a:gd name="connsiteX13" fmla="*/ 246726 w 1721618"/>
                    <a:gd name="connsiteY13" fmla="*/ 293225 h 296786"/>
                    <a:gd name="connsiteX14" fmla="*/ 238045 w 1721618"/>
                    <a:gd name="connsiteY14" fmla="*/ 294596 h 296786"/>
                    <a:gd name="connsiteX15" fmla="*/ 22389 w 1721618"/>
                    <a:gd name="connsiteY15" fmla="*/ 294596 h 296786"/>
                    <a:gd name="connsiteX16" fmla="*/ 0 w 1721618"/>
                    <a:gd name="connsiteY16" fmla="*/ 286372 h 296786"/>
                    <a:gd name="connsiteX17" fmla="*/ 132044 w 1721618"/>
                    <a:gd name="connsiteY17" fmla="*/ 185397 h 296786"/>
                    <a:gd name="connsiteX18" fmla="*/ 191441 w 1721618"/>
                    <a:gd name="connsiteY18" fmla="*/ 185397 h 296786"/>
                    <a:gd name="connsiteX19" fmla="*/ 334907 w 1721618"/>
                    <a:gd name="connsiteY19" fmla="*/ 257587 h 296786"/>
                    <a:gd name="connsiteX20" fmla="*/ 457813 w 1721618"/>
                    <a:gd name="connsiteY20" fmla="*/ 219208 h 296786"/>
                    <a:gd name="connsiteX21" fmla="*/ 493451 w 1721618"/>
                    <a:gd name="connsiteY21" fmla="*/ 194992 h 296786"/>
                    <a:gd name="connsiteX22" fmla="*/ 497563 w 1721618"/>
                    <a:gd name="connsiteY22" fmla="*/ 199104 h 296786"/>
                    <a:gd name="connsiteX23" fmla="*/ 498477 w 1721618"/>
                    <a:gd name="connsiteY23" fmla="*/ 199561 h 296786"/>
                    <a:gd name="connsiteX24" fmla="*/ 500761 w 1721618"/>
                    <a:gd name="connsiteY24" fmla="*/ 194992 h 296786"/>
                    <a:gd name="connsiteX25" fmla="*/ 543710 w 1721618"/>
                    <a:gd name="connsiteY25" fmla="*/ 192708 h 296786"/>
                    <a:gd name="connsiteX26" fmla="*/ 759366 w 1721618"/>
                    <a:gd name="connsiteY26" fmla="*/ 198647 h 296786"/>
                    <a:gd name="connsiteX27" fmla="*/ 984161 w 1721618"/>
                    <a:gd name="connsiteY27" fmla="*/ 197277 h 296786"/>
                    <a:gd name="connsiteX28" fmla="*/ 1242101 w 1721618"/>
                    <a:gd name="connsiteY28" fmla="*/ 198935 h 296786"/>
                    <a:gd name="connsiteX29" fmla="*/ 1273943 w 1721618"/>
                    <a:gd name="connsiteY29" fmla="*/ 122980 h 296786"/>
                    <a:gd name="connsiteX30" fmla="*/ 1281986 w 1721618"/>
                    <a:gd name="connsiteY30" fmla="*/ 98853 h 296786"/>
                    <a:gd name="connsiteX31" fmla="*/ 1288421 w 1721618"/>
                    <a:gd name="connsiteY31" fmla="*/ 77538 h 296786"/>
                    <a:gd name="connsiteX32" fmla="*/ 1288019 w 1721618"/>
                    <a:gd name="connsiteY32" fmla="*/ 77135 h 296786"/>
                    <a:gd name="connsiteX33" fmla="*/ 1298475 w 1721618"/>
                    <a:gd name="connsiteY33" fmla="*/ 34910 h 296786"/>
                    <a:gd name="connsiteX34" fmla="*/ 1302497 w 1721618"/>
                    <a:gd name="connsiteY34" fmla="*/ 23247 h 296786"/>
                    <a:gd name="connsiteX35" fmla="*/ 1307322 w 1721618"/>
                    <a:gd name="connsiteY35" fmla="*/ 7161 h 296786"/>
                    <a:gd name="connsiteX36" fmla="*/ 1360408 w 1721618"/>
                    <a:gd name="connsiteY36" fmla="*/ 727 h 296786"/>
                    <a:gd name="connsiteX37" fmla="*/ 1508802 w 1721618"/>
                    <a:gd name="connsiteY37" fmla="*/ 1128 h 296786"/>
                    <a:gd name="connsiteX38" fmla="*/ 1580386 w 1721618"/>
                    <a:gd name="connsiteY38" fmla="*/ 14801 h 296786"/>
                    <a:gd name="connsiteX39" fmla="*/ 1604113 w 1721618"/>
                    <a:gd name="connsiteY39" fmla="*/ 34910 h 296786"/>
                    <a:gd name="connsiteX40" fmla="*/ 1640307 w 1721618"/>
                    <a:gd name="connsiteY40" fmla="*/ 71102 h 296786"/>
                    <a:gd name="connsiteX41" fmla="*/ 1660416 w 1721618"/>
                    <a:gd name="connsiteY41" fmla="*/ 90810 h 296786"/>
                    <a:gd name="connsiteX42" fmla="*/ 1712293 w 1721618"/>
                    <a:gd name="connsiteY42" fmla="*/ 151936 h 296786"/>
                    <a:gd name="connsiteX43" fmla="*/ 1719934 w 1721618"/>
                    <a:gd name="connsiteY43" fmla="*/ 186524 h 296786"/>
                    <a:gd name="connsiteX0" fmla="*/ 1719934 w 1721618"/>
                    <a:gd name="connsiteY0" fmla="*/ 186524 h 296786"/>
                    <a:gd name="connsiteX1" fmla="*/ 1716717 w 1721618"/>
                    <a:gd name="connsiteY1" fmla="*/ 206230 h 296786"/>
                    <a:gd name="connsiteX2" fmla="*/ 1636285 w 1721618"/>
                    <a:gd name="connsiteY2" fmla="*/ 233976 h 296786"/>
                    <a:gd name="connsiteX3" fmla="*/ 1302459 w 1721618"/>
                    <a:gd name="connsiteY3" fmla="*/ 288285 h 296786"/>
                    <a:gd name="connsiteX4" fmla="*/ 1302459 w 1721618"/>
                    <a:gd name="connsiteY4" fmla="*/ 290112 h 296786"/>
                    <a:gd name="connsiteX5" fmla="*/ 1242101 w 1721618"/>
                    <a:gd name="connsiteY5" fmla="*/ 296786 h 296786"/>
                    <a:gd name="connsiteX6" fmla="*/ 1242101 w 1721618"/>
                    <a:gd name="connsiteY6" fmla="*/ 290284 h 296786"/>
                    <a:gd name="connsiteX7" fmla="*/ 690375 w 1721618"/>
                    <a:gd name="connsiteY7" fmla="*/ 291854 h 296786"/>
                    <a:gd name="connsiteX8" fmla="*/ 566098 w 1721618"/>
                    <a:gd name="connsiteY8" fmla="*/ 291854 h 296786"/>
                    <a:gd name="connsiteX9" fmla="*/ 528175 w 1721618"/>
                    <a:gd name="connsiteY9" fmla="*/ 294139 h 296786"/>
                    <a:gd name="connsiteX10" fmla="*/ 389278 w 1721618"/>
                    <a:gd name="connsiteY10" fmla="*/ 292311 h 296786"/>
                    <a:gd name="connsiteX11" fmla="*/ 258605 w 1721618"/>
                    <a:gd name="connsiteY11" fmla="*/ 294596 h 296786"/>
                    <a:gd name="connsiteX12" fmla="*/ 246726 w 1721618"/>
                    <a:gd name="connsiteY12" fmla="*/ 293225 h 296786"/>
                    <a:gd name="connsiteX13" fmla="*/ 238045 w 1721618"/>
                    <a:gd name="connsiteY13" fmla="*/ 294596 h 296786"/>
                    <a:gd name="connsiteX14" fmla="*/ 22389 w 1721618"/>
                    <a:gd name="connsiteY14" fmla="*/ 294596 h 296786"/>
                    <a:gd name="connsiteX15" fmla="*/ 0 w 1721618"/>
                    <a:gd name="connsiteY15" fmla="*/ 286372 h 296786"/>
                    <a:gd name="connsiteX16" fmla="*/ 132044 w 1721618"/>
                    <a:gd name="connsiteY16" fmla="*/ 185397 h 296786"/>
                    <a:gd name="connsiteX17" fmla="*/ 191441 w 1721618"/>
                    <a:gd name="connsiteY17" fmla="*/ 185397 h 296786"/>
                    <a:gd name="connsiteX18" fmla="*/ 334907 w 1721618"/>
                    <a:gd name="connsiteY18" fmla="*/ 257587 h 296786"/>
                    <a:gd name="connsiteX19" fmla="*/ 457813 w 1721618"/>
                    <a:gd name="connsiteY19" fmla="*/ 219208 h 296786"/>
                    <a:gd name="connsiteX20" fmla="*/ 493451 w 1721618"/>
                    <a:gd name="connsiteY20" fmla="*/ 194992 h 296786"/>
                    <a:gd name="connsiteX21" fmla="*/ 497563 w 1721618"/>
                    <a:gd name="connsiteY21" fmla="*/ 199104 h 296786"/>
                    <a:gd name="connsiteX22" fmla="*/ 498477 w 1721618"/>
                    <a:gd name="connsiteY22" fmla="*/ 199561 h 296786"/>
                    <a:gd name="connsiteX23" fmla="*/ 500761 w 1721618"/>
                    <a:gd name="connsiteY23" fmla="*/ 194992 h 296786"/>
                    <a:gd name="connsiteX24" fmla="*/ 543710 w 1721618"/>
                    <a:gd name="connsiteY24" fmla="*/ 192708 h 296786"/>
                    <a:gd name="connsiteX25" fmla="*/ 759366 w 1721618"/>
                    <a:gd name="connsiteY25" fmla="*/ 198647 h 296786"/>
                    <a:gd name="connsiteX26" fmla="*/ 984161 w 1721618"/>
                    <a:gd name="connsiteY26" fmla="*/ 197277 h 296786"/>
                    <a:gd name="connsiteX27" fmla="*/ 1242101 w 1721618"/>
                    <a:gd name="connsiteY27" fmla="*/ 198935 h 296786"/>
                    <a:gd name="connsiteX28" fmla="*/ 1273943 w 1721618"/>
                    <a:gd name="connsiteY28" fmla="*/ 122980 h 296786"/>
                    <a:gd name="connsiteX29" fmla="*/ 1281986 w 1721618"/>
                    <a:gd name="connsiteY29" fmla="*/ 98853 h 296786"/>
                    <a:gd name="connsiteX30" fmla="*/ 1288421 w 1721618"/>
                    <a:gd name="connsiteY30" fmla="*/ 77538 h 296786"/>
                    <a:gd name="connsiteX31" fmla="*/ 1288019 w 1721618"/>
                    <a:gd name="connsiteY31" fmla="*/ 77135 h 296786"/>
                    <a:gd name="connsiteX32" fmla="*/ 1298475 w 1721618"/>
                    <a:gd name="connsiteY32" fmla="*/ 34910 h 296786"/>
                    <a:gd name="connsiteX33" fmla="*/ 1302497 w 1721618"/>
                    <a:gd name="connsiteY33" fmla="*/ 23247 h 296786"/>
                    <a:gd name="connsiteX34" fmla="*/ 1307322 w 1721618"/>
                    <a:gd name="connsiteY34" fmla="*/ 7161 h 296786"/>
                    <a:gd name="connsiteX35" fmla="*/ 1360408 w 1721618"/>
                    <a:gd name="connsiteY35" fmla="*/ 727 h 296786"/>
                    <a:gd name="connsiteX36" fmla="*/ 1508802 w 1721618"/>
                    <a:gd name="connsiteY36" fmla="*/ 1128 h 296786"/>
                    <a:gd name="connsiteX37" fmla="*/ 1580386 w 1721618"/>
                    <a:gd name="connsiteY37" fmla="*/ 14801 h 296786"/>
                    <a:gd name="connsiteX38" fmla="*/ 1604113 w 1721618"/>
                    <a:gd name="connsiteY38" fmla="*/ 34910 h 296786"/>
                    <a:gd name="connsiteX39" fmla="*/ 1640307 w 1721618"/>
                    <a:gd name="connsiteY39" fmla="*/ 71102 h 296786"/>
                    <a:gd name="connsiteX40" fmla="*/ 1660416 w 1721618"/>
                    <a:gd name="connsiteY40" fmla="*/ 90810 h 296786"/>
                    <a:gd name="connsiteX41" fmla="*/ 1712293 w 1721618"/>
                    <a:gd name="connsiteY41" fmla="*/ 151936 h 296786"/>
                    <a:gd name="connsiteX42" fmla="*/ 1719934 w 1721618"/>
                    <a:gd name="connsiteY42" fmla="*/ 186524 h 296786"/>
                    <a:gd name="connsiteX0" fmla="*/ 1719934 w 1721618"/>
                    <a:gd name="connsiteY0" fmla="*/ 186524 h 296785"/>
                    <a:gd name="connsiteX1" fmla="*/ 1716717 w 1721618"/>
                    <a:gd name="connsiteY1" fmla="*/ 206230 h 296785"/>
                    <a:gd name="connsiteX2" fmla="*/ 1636285 w 1721618"/>
                    <a:gd name="connsiteY2" fmla="*/ 233976 h 296785"/>
                    <a:gd name="connsiteX3" fmla="*/ 1302459 w 1721618"/>
                    <a:gd name="connsiteY3" fmla="*/ 288285 h 296785"/>
                    <a:gd name="connsiteX4" fmla="*/ 1302459 w 1721618"/>
                    <a:gd name="connsiteY4" fmla="*/ 290112 h 296785"/>
                    <a:gd name="connsiteX5" fmla="*/ 1242101 w 1721618"/>
                    <a:gd name="connsiteY5" fmla="*/ 290284 h 296785"/>
                    <a:gd name="connsiteX6" fmla="*/ 690375 w 1721618"/>
                    <a:gd name="connsiteY6" fmla="*/ 291854 h 296785"/>
                    <a:gd name="connsiteX7" fmla="*/ 566098 w 1721618"/>
                    <a:gd name="connsiteY7" fmla="*/ 291854 h 296785"/>
                    <a:gd name="connsiteX8" fmla="*/ 528175 w 1721618"/>
                    <a:gd name="connsiteY8" fmla="*/ 294139 h 296785"/>
                    <a:gd name="connsiteX9" fmla="*/ 389278 w 1721618"/>
                    <a:gd name="connsiteY9" fmla="*/ 292311 h 296785"/>
                    <a:gd name="connsiteX10" fmla="*/ 258605 w 1721618"/>
                    <a:gd name="connsiteY10" fmla="*/ 294596 h 296785"/>
                    <a:gd name="connsiteX11" fmla="*/ 246726 w 1721618"/>
                    <a:gd name="connsiteY11" fmla="*/ 293225 h 296785"/>
                    <a:gd name="connsiteX12" fmla="*/ 238045 w 1721618"/>
                    <a:gd name="connsiteY12" fmla="*/ 294596 h 296785"/>
                    <a:gd name="connsiteX13" fmla="*/ 22389 w 1721618"/>
                    <a:gd name="connsiteY13" fmla="*/ 294596 h 296785"/>
                    <a:gd name="connsiteX14" fmla="*/ 0 w 1721618"/>
                    <a:gd name="connsiteY14" fmla="*/ 286372 h 296785"/>
                    <a:gd name="connsiteX15" fmla="*/ 132044 w 1721618"/>
                    <a:gd name="connsiteY15" fmla="*/ 185397 h 296785"/>
                    <a:gd name="connsiteX16" fmla="*/ 191441 w 1721618"/>
                    <a:gd name="connsiteY16" fmla="*/ 185397 h 296785"/>
                    <a:gd name="connsiteX17" fmla="*/ 334907 w 1721618"/>
                    <a:gd name="connsiteY17" fmla="*/ 257587 h 296785"/>
                    <a:gd name="connsiteX18" fmla="*/ 457813 w 1721618"/>
                    <a:gd name="connsiteY18" fmla="*/ 219208 h 296785"/>
                    <a:gd name="connsiteX19" fmla="*/ 493451 w 1721618"/>
                    <a:gd name="connsiteY19" fmla="*/ 194992 h 296785"/>
                    <a:gd name="connsiteX20" fmla="*/ 497563 w 1721618"/>
                    <a:gd name="connsiteY20" fmla="*/ 199104 h 296785"/>
                    <a:gd name="connsiteX21" fmla="*/ 498477 w 1721618"/>
                    <a:gd name="connsiteY21" fmla="*/ 199561 h 296785"/>
                    <a:gd name="connsiteX22" fmla="*/ 500761 w 1721618"/>
                    <a:gd name="connsiteY22" fmla="*/ 194992 h 296785"/>
                    <a:gd name="connsiteX23" fmla="*/ 543710 w 1721618"/>
                    <a:gd name="connsiteY23" fmla="*/ 192708 h 296785"/>
                    <a:gd name="connsiteX24" fmla="*/ 759366 w 1721618"/>
                    <a:gd name="connsiteY24" fmla="*/ 198647 h 296785"/>
                    <a:gd name="connsiteX25" fmla="*/ 984161 w 1721618"/>
                    <a:gd name="connsiteY25" fmla="*/ 197277 h 296785"/>
                    <a:gd name="connsiteX26" fmla="*/ 1242101 w 1721618"/>
                    <a:gd name="connsiteY26" fmla="*/ 198935 h 296785"/>
                    <a:gd name="connsiteX27" fmla="*/ 1273943 w 1721618"/>
                    <a:gd name="connsiteY27" fmla="*/ 122980 h 296785"/>
                    <a:gd name="connsiteX28" fmla="*/ 1281986 w 1721618"/>
                    <a:gd name="connsiteY28" fmla="*/ 98853 h 296785"/>
                    <a:gd name="connsiteX29" fmla="*/ 1288421 w 1721618"/>
                    <a:gd name="connsiteY29" fmla="*/ 77538 h 296785"/>
                    <a:gd name="connsiteX30" fmla="*/ 1288019 w 1721618"/>
                    <a:gd name="connsiteY30" fmla="*/ 77135 h 296785"/>
                    <a:gd name="connsiteX31" fmla="*/ 1298475 w 1721618"/>
                    <a:gd name="connsiteY31" fmla="*/ 34910 h 296785"/>
                    <a:gd name="connsiteX32" fmla="*/ 1302497 w 1721618"/>
                    <a:gd name="connsiteY32" fmla="*/ 23247 h 296785"/>
                    <a:gd name="connsiteX33" fmla="*/ 1307322 w 1721618"/>
                    <a:gd name="connsiteY33" fmla="*/ 7161 h 296785"/>
                    <a:gd name="connsiteX34" fmla="*/ 1360408 w 1721618"/>
                    <a:gd name="connsiteY34" fmla="*/ 727 h 296785"/>
                    <a:gd name="connsiteX35" fmla="*/ 1508802 w 1721618"/>
                    <a:gd name="connsiteY35" fmla="*/ 1128 h 296785"/>
                    <a:gd name="connsiteX36" fmla="*/ 1580386 w 1721618"/>
                    <a:gd name="connsiteY36" fmla="*/ 14801 h 296785"/>
                    <a:gd name="connsiteX37" fmla="*/ 1604113 w 1721618"/>
                    <a:gd name="connsiteY37" fmla="*/ 34910 h 296785"/>
                    <a:gd name="connsiteX38" fmla="*/ 1640307 w 1721618"/>
                    <a:gd name="connsiteY38" fmla="*/ 71102 h 296785"/>
                    <a:gd name="connsiteX39" fmla="*/ 1660416 w 1721618"/>
                    <a:gd name="connsiteY39" fmla="*/ 90810 h 296785"/>
                    <a:gd name="connsiteX40" fmla="*/ 1712293 w 1721618"/>
                    <a:gd name="connsiteY40" fmla="*/ 151936 h 296785"/>
                    <a:gd name="connsiteX41" fmla="*/ 1719934 w 1721618"/>
                    <a:gd name="connsiteY41" fmla="*/ 186524 h 296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721618" h="296785">
                      <a:moveTo>
                        <a:pt x="1719934" y="186524"/>
                      </a:moveTo>
                      <a:cubicBezTo>
                        <a:pt x="1719130" y="192957"/>
                        <a:pt x="1717922" y="199794"/>
                        <a:pt x="1716717" y="206230"/>
                      </a:cubicBezTo>
                      <a:cubicBezTo>
                        <a:pt x="1694196" y="227543"/>
                        <a:pt x="1664034" y="227543"/>
                        <a:pt x="1636285" y="233976"/>
                      </a:cubicBezTo>
                      <a:lnTo>
                        <a:pt x="1302459" y="288285"/>
                      </a:lnTo>
                      <a:lnTo>
                        <a:pt x="1302459" y="290112"/>
                      </a:lnTo>
                      <a:lnTo>
                        <a:pt x="1242101" y="290284"/>
                      </a:lnTo>
                      <a:lnTo>
                        <a:pt x="690375" y="291854"/>
                      </a:lnTo>
                      <a:lnTo>
                        <a:pt x="566098" y="291854"/>
                      </a:lnTo>
                      <a:cubicBezTo>
                        <a:pt x="553305" y="292311"/>
                        <a:pt x="540969" y="292768"/>
                        <a:pt x="528175" y="294139"/>
                      </a:cubicBezTo>
                      <a:cubicBezTo>
                        <a:pt x="481572" y="298708"/>
                        <a:pt x="435425" y="296880"/>
                        <a:pt x="389278" y="292311"/>
                      </a:cubicBezTo>
                      <a:cubicBezTo>
                        <a:pt x="344350" y="292387"/>
                        <a:pt x="282364" y="294444"/>
                        <a:pt x="258605" y="294596"/>
                      </a:cubicBezTo>
                      <a:cubicBezTo>
                        <a:pt x="234846" y="294748"/>
                        <a:pt x="250381" y="294596"/>
                        <a:pt x="246726" y="293225"/>
                      </a:cubicBezTo>
                      <a:lnTo>
                        <a:pt x="238045" y="294596"/>
                      </a:lnTo>
                      <a:lnTo>
                        <a:pt x="22389" y="294596"/>
                      </a:lnTo>
                      <a:cubicBezTo>
                        <a:pt x="14621" y="294596"/>
                        <a:pt x="3199" y="299622"/>
                        <a:pt x="0" y="286372"/>
                      </a:cubicBezTo>
                      <a:cubicBezTo>
                        <a:pt x="47061" y="256673"/>
                        <a:pt x="87725" y="218751"/>
                        <a:pt x="132044" y="185397"/>
                      </a:cubicBezTo>
                      <a:cubicBezTo>
                        <a:pt x="151691" y="179914"/>
                        <a:pt x="171794" y="179914"/>
                        <a:pt x="191441" y="185397"/>
                      </a:cubicBezTo>
                      <a:cubicBezTo>
                        <a:pt x="235303" y="217837"/>
                        <a:pt x="283278" y="241139"/>
                        <a:pt x="334907" y="257587"/>
                      </a:cubicBezTo>
                      <a:cubicBezTo>
                        <a:pt x="382425" y="266268"/>
                        <a:pt x="419891" y="242509"/>
                        <a:pt x="457813" y="219208"/>
                      </a:cubicBezTo>
                      <a:cubicBezTo>
                        <a:pt x="470149" y="211897"/>
                        <a:pt x="481572" y="203216"/>
                        <a:pt x="493451" y="194992"/>
                      </a:cubicBezTo>
                      <a:cubicBezTo>
                        <a:pt x="497106" y="193621"/>
                        <a:pt x="498934" y="194992"/>
                        <a:pt x="497563" y="199104"/>
                      </a:cubicBezTo>
                      <a:cubicBezTo>
                        <a:pt x="498020" y="199561"/>
                        <a:pt x="498020" y="199561"/>
                        <a:pt x="498477" y="199561"/>
                      </a:cubicBezTo>
                      <a:cubicBezTo>
                        <a:pt x="499391" y="198190"/>
                        <a:pt x="499848" y="196819"/>
                        <a:pt x="500761" y="194992"/>
                      </a:cubicBezTo>
                      <a:cubicBezTo>
                        <a:pt x="514926" y="190423"/>
                        <a:pt x="529546" y="192708"/>
                        <a:pt x="543710" y="192708"/>
                      </a:cubicBezTo>
                      <a:lnTo>
                        <a:pt x="759366" y="198647"/>
                      </a:lnTo>
                      <a:cubicBezTo>
                        <a:pt x="805437" y="199485"/>
                        <a:pt x="899330" y="197201"/>
                        <a:pt x="984161" y="197277"/>
                      </a:cubicBezTo>
                      <a:lnTo>
                        <a:pt x="1242101" y="198935"/>
                      </a:lnTo>
                      <a:lnTo>
                        <a:pt x="1273943" y="122980"/>
                      </a:lnTo>
                      <a:cubicBezTo>
                        <a:pt x="1275150" y="114537"/>
                        <a:pt x="1277161" y="106091"/>
                        <a:pt x="1281986" y="98853"/>
                      </a:cubicBezTo>
                      <a:cubicBezTo>
                        <a:pt x="1282791" y="91211"/>
                        <a:pt x="1284802" y="84375"/>
                        <a:pt x="1288421" y="77538"/>
                      </a:cubicBezTo>
                      <a:lnTo>
                        <a:pt x="1288019" y="77135"/>
                      </a:lnTo>
                      <a:cubicBezTo>
                        <a:pt x="1288019" y="62256"/>
                        <a:pt x="1292845" y="48583"/>
                        <a:pt x="1298475" y="34910"/>
                      </a:cubicBezTo>
                      <a:cubicBezTo>
                        <a:pt x="1299682" y="30887"/>
                        <a:pt x="1301290" y="27270"/>
                        <a:pt x="1302497" y="23247"/>
                      </a:cubicBezTo>
                      <a:cubicBezTo>
                        <a:pt x="1304105" y="18020"/>
                        <a:pt x="1305715" y="12388"/>
                        <a:pt x="1307322" y="7161"/>
                      </a:cubicBezTo>
                      <a:cubicBezTo>
                        <a:pt x="1325018" y="4345"/>
                        <a:pt x="1342712" y="727"/>
                        <a:pt x="1360408" y="727"/>
                      </a:cubicBezTo>
                      <a:cubicBezTo>
                        <a:pt x="1409871" y="325"/>
                        <a:pt x="1459337" y="-883"/>
                        <a:pt x="1508802" y="1128"/>
                      </a:cubicBezTo>
                      <a:cubicBezTo>
                        <a:pt x="1532931" y="2335"/>
                        <a:pt x="1558670" y="325"/>
                        <a:pt x="1580386" y="14801"/>
                      </a:cubicBezTo>
                      <a:cubicBezTo>
                        <a:pt x="1588429" y="20834"/>
                        <a:pt x="1598482" y="25257"/>
                        <a:pt x="1604113" y="34910"/>
                      </a:cubicBezTo>
                      <a:cubicBezTo>
                        <a:pt x="1620199" y="42953"/>
                        <a:pt x="1633069" y="54213"/>
                        <a:pt x="1640307" y="71102"/>
                      </a:cubicBezTo>
                      <a:cubicBezTo>
                        <a:pt x="1648350" y="76332"/>
                        <a:pt x="1654785" y="83168"/>
                        <a:pt x="1660416" y="90810"/>
                      </a:cubicBezTo>
                      <a:cubicBezTo>
                        <a:pt x="1682131" y="107297"/>
                        <a:pt x="1696609" y="130222"/>
                        <a:pt x="1712293" y="151936"/>
                      </a:cubicBezTo>
                      <a:cubicBezTo>
                        <a:pt x="1712293" y="164404"/>
                        <a:pt x="1726368" y="174458"/>
                        <a:pt x="1719934" y="186524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50000"/>
                  </a:schemeClr>
                </a:solidFill>
                <a:ln w="9525" cap="flat">
                  <a:noFill/>
                  <a:prstDash val="solid"/>
                  <a:miter/>
                </a:ln>
                <a:effectLst>
                  <a:innerShdw blurRad="63500" dist="50800">
                    <a:schemeClr val="accent1">
                      <a:lumMod val="50000"/>
                      <a:alpha val="50000"/>
                    </a:schemeClr>
                  </a:innerShdw>
                </a:effectLst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9" name="Freeform: Shape 35">
                  <a:extLst>
                    <a:ext uri="{FF2B5EF4-FFF2-40B4-BE49-F238E27FC236}">
                      <a16:creationId xmlns="" xmlns:a16="http://schemas.microsoft.com/office/drawing/2014/main" id="{16C1EF31-CCBE-4CC0-AF3A-18E64E64F7B4}"/>
                    </a:ext>
                  </a:extLst>
                </p:cNvPr>
                <p:cNvSpPr/>
                <p:nvPr/>
              </p:nvSpPr>
              <p:spPr>
                <a:xfrm rot="19982544">
                  <a:off x="6214862" y="4111073"/>
                  <a:ext cx="1567118" cy="105303"/>
                </a:xfrm>
                <a:custGeom>
                  <a:avLst/>
                  <a:gdLst>
                    <a:gd name="connsiteX0" fmla="*/ 3167811 w 3167811"/>
                    <a:gd name="connsiteY0" fmla="*/ 43158 h 219312"/>
                    <a:gd name="connsiteX1" fmla="*/ 3167811 w 3167811"/>
                    <a:gd name="connsiteY1" fmla="*/ 211622 h 219312"/>
                    <a:gd name="connsiteX2" fmla="*/ 3139836 w 3167811"/>
                    <a:gd name="connsiteY2" fmla="*/ 214286 h 219312"/>
                    <a:gd name="connsiteX3" fmla="*/ 1691467 w 3167811"/>
                    <a:gd name="connsiteY3" fmla="*/ 219312 h 219312"/>
                    <a:gd name="connsiteX4" fmla="*/ 1430578 w 3167811"/>
                    <a:gd name="connsiteY4" fmla="*/ 215200 h 219312"/>
                    <a:gd name="connsiteX5" fmla="*/ 113795 w 3167811"/>
                    <a:gd name="connsiteY5" fmla="*/ 202864 h 219312"/>
                    <a:gd name="connsiteX6" fmla="*/ 105113 w 3167811"/>
                    <a:gd name="connsiteY6" fmla="*/ 201036 h 219312"/>
                    <a:gd name="connsiteX7" fmla="*/ 15561 w 3167811"/>
                    <a:gd name="connsiteY7" fmla="*/ 111027 h 219312"/>
                    <a:gd name="connsiteX8" fmla="*/ 27 w 3167811"/>
                    <a:gd name="connsiteY8" fmla="*/ 72190 h 219312"/>
                    <a:gd name="connsiteX9" fmla="*/ 1854 w 3167811"/>
                    <a:gd name="connsiteY9" fmla="*/ 0 h 219312"/>
                    <a:gd name="connsiteX10" fmla="*/ 1023480 w 3167811"/>
                    <a:gd name="connsiteY10" fmla="*/ 5940 h 219312"/>
                    <a:gd name="connsiteX11" fmla="*/ 1034446 w 3167811"/>
                    <a:gd name="connsiteY11" fmla="*/ 8224 h 219312"/>
                    <a:gd name="connsiteX12" fmla="*/ 1151412 w 3167811"/>
                    <a:gd name="connsiteY12" fmla="*/ 45690 h 219312"/>
                    <a:gd name="connsiteX13" fmla="*/ 1153697 w 3167811"/>
                    <a:gd name="connsiteY13" fmla="*/ 49345 h 219312"/>
                    <a:gd name="connsiteX14" fmla="*/ 1207154 w 3167811"/>
                    <a:gd name="connsiteY14" fmla="*/ 44776 h 219312"/>
                    <a:gd name="connsiteX15" fmla="*/ 1239137 w 3167811"/>
                    <a:gd name="connsiteY15" fmla="*/ 12336 h 219312"/>
                    <a:gd name="connsiteX16" fmla="*/ 1242335 w 3167811"/>
                    <a:gd name="connsiteY16" fmla="*/ 12793 h 219312"/>
                    <a:gd name="connsiteX17" fmla="*/ 1303103 w 3167811"/>
                    <a:gd name="connsiteY17" fmla="*/ 15534 h 219312"/>
                    <a:gd name="connsiteX18" fmla="*/ 1634355 w 3167811"/>
                    <a:gd name="connsiteY18" fmla="*/ 21474 h 219312"/>
                    <a:gd name="connsiteX19" fmla="*/ 1636182 w 3167811"/>
                    <a:gd name="connsiteY19" fmla="*/ 21474 h 219312"/>
                    <a:gd name="connsiteX20" fmla="*/ 2103133 w 3167811"/>
                    <a:gd name="connsiteY20" fmla="*/ 26500 h 219312"/>
                    <a:gd name="connsiteX21" fmla="*/ 2454945 w 3167811"/>
                    <a:gd name="connsiteY21" fmla="*/ 27414 h 219312"/>
                    <a:gd name="connsiteX22" fmla="*/ 2515256 w 3167811"/>
                    <a:gd name="connsiteY22" fmla="*/ 31526 h 219312"/>
                    <a:gd name="connsiteX23" fmla="*/ 2718576 w 3167811"/>
                    <a:gd name="connsiteY23" fmla="*/ 32440 h 219312"/>
                    <a:gd name="connsiteX24" fmla="*/ 3028353 w 3167811"/>
                    <a:gd name="connsiteY24" fmla="*/ 37466 h 219312"/>
                    <a:gd name="connsiteX25" fmla="*/ 3126129 w 3167811"/>
                    <a:gd name="connsiteY25" fmla="*/ 40207 h 219312"/>
                    <a:gd name="connsiteX0" fmla="*/ 3167811 w 3243631"/>
                    <a:gd name="connsiteY0" fmla="*/ 43158 h 219312"/>
                    <a:gd name="connsiteX1" fmla="*/ 3167811 w 3243631"/>
                    <a:gd name="connsiteY1" fmla="*/ 211622 h 219312"/>
                    <a:gd name="connsiteX2" fmla="*/ 3139836 w 3243631"/>
                    <a:gd name="connsiteY2" fmla="*/ 214286 h 219312"/>
                    <a:gd name="connsiteX3" fmla="*/ 1691467 w 3243631"/>
                    <a:gd name="connsiteY3" fmla="*/ 219312 h 219312"/>
                    <a:gd name="connsiteX4" fmla="*/ 1430578 w 3243631"/>
                    <a:gd name="connsiteY4" fmla="*/ 215200 h 219312"/>
                    <a:gd name="connsiteX5" fmla="*/ 113795 w 3243631"/>
                    <a:gd name="connsiteY5" fmla="*/ 202864 h 219312"/>
                    <a:gd name="connsiteX6" fmla="*/ 105113 w 3243631"/>
                    <a:gd name="connsiteY6" fmla="*/ 201036 h 219312"/>
                    <a:gd name="connsiteX7" fmla="*/ 15561 w 3243631"/>
                    <a:gd name="connsiteY7" fmla="*/ 111027 h 219312"/>
                    <a:gd name="connsiteX8" fmla="*/ 27 w 3243631"/>
                    <a:gd name="connsiteY8" fmla="*/ 72190 h 219312"/>
                    <a:gd name="connsiteX9" fmla="*/ 1854 w 3243631"/>
                    <a:gd name="connsiteY9" fmla="*/ 0 h 219312"/>
                    <a:gd name="connsiteX10" fmla="*/ 1023480 w 3243631"/>
                    <a:gd name="connsiteY10" fmla="*/ 5940 h 219312"/>
                    <a:gd name="connsiteX11" fmla="*/ 1034446 w 3243631"/>
                    <a:gd name="connsiteY11" fmla="*/ 8224 h 219312"/>
                    <a:gd name="connsiteX12" fmla="*/ 1151412 w 3243631"/>
                    <a:gd name="connsiteY12" fmla="*/ 45690 h 219312"/>
                    <a:gd name="connsiteX13" fmla="*/ 1153697 w 3243631"/>
                    <a:gd name="connsiteY13" fmla="*/ 49345 h 219312"/>
                    <a:gd name="connsiteX14" fmla="*/ 1207154 w 3243631"/>
                    <a:gd name="connsiteY14" fmla="*/ 44776 h 219312"/>
                    <a:gd name="connsiteX15" fmla="*/ 1239137 w 3243631"/>
                    <a:gd name="connsiteY15" fmla="*/ 12336 h 219312"/>
                    <a:gd name="connsiteX16" fmla="*/ 1242335 w 3243631"/>
                    <a:gd name="connsiteY16" fmla="*/ 12793 h 219312"/>
                    <a:gd name="connsiteX17" fmla="*/ 1303103 w 3243631"/>
                    <a:gd name="connsiteY17" fmla="*/ 15534 h 219312"/>
                    <a:gd name="connsiteX18" fmla="*/ 1634355 w 3243631"/>
                    <a:gd name="connsiteY18" fmla="*/ 21474 h 219312"/>
                    <a:gd name="connsiteX19" fmla="*/ 1636182 w 3243631"/>
                    <a:gd name="connsiteY19" fmla="*/ 21474 h 219312"/>
                    <a:gd name="connsiteX20" fmla="*/ 2103133 w 3243631"/>
                    <a:gd name="connsiteY20" fmla="*/ 26500 h 219312"/>
                    <a:gd name="connsiteX21" fmla="*/ 2454945 w 3243631"/>
                    <a:gd name="connsiteY21" fmla="*/ 27414 h 219312"/>
                    <a:gd name="connsiteX22" fmla="*/ 2515256 w 3243631"/>
                    <a:gd name="connsiteY22" fmla="*/ 31526 h 219312"/>
                    <a:gd name="connsiteX23" fmla="*/ 2718576 w 3243631"/>
                    <a:gd name="connsiteY23" fmla="*/ 32440 h 219312"/>
                    <a:gd name="connsiteX24" fmla="*/ 3028353 w 3243631"/>
                    <a:gd name="connsiteY24" fmla="*/ 37466 h 219312"/>
                    <a:gd name="connsiteX25" fmla="*/ 3126129 w 3243631"/>
                    <a:gd name="connsiteY25" fmla="*/ 40207 h 219312"/>
                    <a:gd name="connsiteX26" fmla="*/ 3167811 w 3243631"/>
                    <a:gd name="connsiteY26" fmla="*/ 43158 h 219312"/>
                    <a:gd name="connsiteX0" fmla="*/ 3167811 w 3282115"/>
                    <a:gd name="connsiteY0" fmla="*/ 43158 h 219312"/>
                    <a:gd name="connsiteX1" fmla="*/ 3167811 w 3282115"/>
                    <a:gd name="connsiteY1" fmla="*/ 211622 h 219312"/>
                    <a:gd name="connsiteX2" fmla="*/ 3139836 w 3282115"/>
                    <a:gd name="connsiteY2" fmla="*/ 214286 h 219312"/>
                    <a:gd name="connsiteX3" fmla="*/ 1691467 w 3282115"/>
                    <a:gd name="connsiteY3" fmla="*/ 219312 h 219312"/>
                    <a:gd name="connsiteX4" fmla="*/ 1430578 w 3282115"/>
                    <a:gd name="connsiteY4" fmla="*/ 215200 h 219312"/>
                    <a:gd name="connsiteX5" fmla="*/ 113795 w 3282115"/>
                    <a:gd name="connsiteY5" fmla="*/ 202864 h 219312"/>
                    <a:gd name="connsiteX6" fmla="*/ 105113 w 3282115"/>
                    <a:gd name="connsiteY6" fmla="*/ 201036 h 219312"/>
                    <a:gd name="connsiteX7" fmla="*/ 15561 w 3282115"/>
                    <a:gd name="connsiteY7" fmla="*/ 111027 h 219312"/>
                    <a:gd name="connsiteX8" fmla="*/ 27 w 3282115"/>
                    <a:gd name="connsiteY8" fmla="*/ 72190 h 219312"/>
                    <a:gd name="connsiteX9" fmla="*/ 1854 w 3282115"/>
                    <a:gd name="connsiteY9" fmla="*/ 0 h 219312"/>
                    <a:gd name="connsiteX10" fmla="*/ 1023480 w 3282115"/>
                    <a:gd name="connsiteY10" fmla="*/ 5940 h 219312"/>
                    <a:gd name="connsiteX11" fmla="*/ 1034446 w 3282115"/>
                    <a:gd name="connsiteY11" fmla="*/ 8224 h 219312"/>
                    <a:gd name="connsiteX12" fmla="*/ 1151412 w 3282115"/>
                    <a:gd name="connsiteY12" fmla="*/ 45690 h 219312"/>
                    <a:gd name="connsiteX13" fmla="*/ 1153697 w 3282115"/>
                    <a:gd name="connsiteY13" fmla="*/ 49345 h 219312"/>
                    <a:gd name="connsiteX14" fmla="*/ 1207154 w 3282115"/>
                    <a:gd name="connsiteY14" fmla="*/ 44776 h 219312"/>
                    <a:gd name="connsiteX15" fmla="*/ 1239137 w 3282115"/>
                    <a:gd name="connsiteY15" fmla="*/ 12336 h 219312"/>
                    <a:gd name="connsiteX16" fmla="*/ 1242335 w 3282115"/>
                    <a:gd name="connsiteY16" fmla="*/ 12793 h 219312"/>
                    <a:gd name="connsiteX17" fmla="*/ 1303103 w 3282115"/>
                    <a:gd name="connsiteY17" fmla="*/ 15534 h 219312"/>
                    <a:gd name="connsiteX18" fmla="*/ 1634355 w 3282115"/>
                    <a:gd name="connsiteY18" fmla="*/ 21474 h 219312"/>
                    <a:gd name="connsiteX19" fmla="*/ 1636182 w 3282115"/>
                    <a:gd name="connsiteY19" fmla="*/ 21474 h 219312"/>
                    <a:gd name="connsiteX20" fmla="*/ 2103133 w 3282115"/>
                    <a:gd name="connsiteY20" fmla="*/ 26500 h 219312"/>
                    <a:gd name="connsiteX21" fmla="*/ 2454945 w 3282115"/>
                    <a:gd name="connsiteY21" fmla="*/ 27414 h 219312"/>
                    <a:gd name="connsiteX22" fmla="*/ 2515256 w 3282115"/>
                    <a:gd name="connsiteY22" fmla="*/ 31526 h 219312"/>
                    <a:gd name="connsiteX23" fmla="*/ 2718576 w 3282115"/>
                    <a:gd name="connsiteY23" fmla="*/ 32440 h 219312"/>
                    <a:gd name="connsiteX24" fmla="*/ 3028353 w 3282115"/>
                    <a:gd name="connsiteY24" fmla="*/ 37466 h 219312"/>
                    <a:gd name="connsiteX25" fmla="*/ 3126129 w 3282115"/>
                    <a:gd name="connsiteY25" fmla="*/ 40207 h 219312"/>
                    <a:gd name="connsiteX26" fmla="*/ 3167811 w 3282115"/>
                    <a:gd name="connsiteY26" fmla="*/ 43158 h 219312"/>
                    <a:gd name="connsiteX0" fmla="*/ 3167811 w 3263809"/>
                    <a:gd name="connsiteY0" fmla="*/ 43158 h 219312"/>
                    <a:gd name="connsiteX1" fmla="*/ 3167811 w 3263809"/>
                    <a:gd name="connsiteY1" fmla="*/ 211622 h 219312"/>
                    <a:gd name="connsiteX2" fmla="*/ 3139836 w 3263809"/>
                    <a:gd name="connsiteY2" fmla="*/ 214286 h 219312"/>
                    <a:gd name="connsiteX3" fmla="*/ 1691467 w 3263809"/>
                    <a:gd name="connsiteY3" fmla="*/ 219312 h 219312"/>
                    <a:gd name="connsiteX4" fmla="*/ 1430578 w 3263809"/>
                    <a:gd name="connsiteY4" fmla="*/ 215200 h 219312"/>
                    <a:gd name="connsiteX5" fmla="*/ 113795 w 3263809"/>
                    <a:gd name="connsiteY5" fmla="*/ 202864 h 219312"/>
                    <a:gd name="connsiteX6" fmla="*/ 105113 w 3263809"/>
                    <a:gd name="connsiteY6" fmla="*/ 201036 h 219312"/>
                    <a:gd name="connsiteX7" fmla="*/ 15561 w 3263809"/>
                    <a:gd name="connsiteY7" fmla="*/ 111027 h 219312"/>
                    <a:gd name="connsiteX8" fmla="*/ 27 w 3263809"/>
                    <a:gd name="connsiteY8" fmla="*/ 72190 h 219312"/>
                    <a:gd name="connsiteX9" fmla="*/ 1854 w 3263809"/>
                    <a:gd name="connsiteY9" fmla="*/ 0 h 219312"/>
                    <a:gd name="connsiteX10" fmla="*/ 1023480 w 3263809"/>
                    <a:gd name="connsiteY10" fmla="*/ 5940 h 219312"/>
                    <a:gd name="connsiteX11" fmla="*/ 1034446 w 3263809"/>
                    <a:gd name="connsiteY11" fmla="*/ 8224 h 219312"/>
                    <a:gd name="connsiteX12" fmla="*/ 1151412 w 3263809"/>
                    <a:gd name="connsiteY12" fmla="*/ 45690 h 219312"/>
                    <a:gd name="connsiteX13" fmla="*/ 1153697 w 3263809"/>
                    <a:gd name="connsiteY13" fmla="*/ 49345 h 219312"/>
                    <a:gd name="connsiteX14" fmla="*/ 1207154 w 3263809"/>
                    <a:gd name="connsiteY14" fmla="*/ 44776 h 219312"/>
                    <a:gd name="connsiteX15" fmla="*/ 1239137 w 3263809"/>
                    <a:gd name="connsiteY15" fmla="*/ 12336 h 219312"/>
                    <a:gd name="connsiteX16" fmla="*/ 1242335 w 3263809"/>
                    <a:gd name="connsiteY16" fmla="*/ 12793 h 219312"/>
                    <a:gd name="connsiteX17" fmla="*/ 1303103 w 3263809"/>
                    <a:gd name="connsiteY17" fmla="*/ 15534 h 219312"/>
                    <a:gd name="connsiteX18" fmla="*/ 1634355 w 3263809"/>
                    <a:gd name="connsiteY18" fmla="*/ 21474 h 219312"/>
                    <a:gd name="connsiteX19" fmla="*/ 1636182 w 3263809"/>
                    <a:gd name="connsiteY19" fmla="*/ 21474 h 219312"/>
                    <a:gd name="connsiteX20" fmla="*/ 2103133 w 3263809"/>
                    <a:gd name="connsiteY20" fmla="*/ 26500 h 219312"/>
                    <a:gd name="connsiteX21" fmla="*/ 2454945 w 3263809"/>
                    <a:gd name="connsiteY21" fmla="*/ 27414 h 219312"/>
                    <a:gd name="connsiteX22" fmla="*/ 2515256 w 3263809"/>
                    <a:gd name="connsiteY22" fmla="*/ 31526 h 219312"/>
                    <a:gd name="connsiteX23" fmla="*/ 2718576 w 3263809"/>
                    <a:gd name="connsiteY23" fmla="*/ 32440 h 219312"/>
                    <a:gd name="connsiteX24" fmla="*/ 3028353 w 3263809"/>
                    <a:gd name="connsiteY24" fmla="*/ 37466 h 219312"/>
                    <a:gd name="connsiteX25" fmla="*/ 3126129 w 3263809"/>
                    <a:gd name="connsiteY25" fmla="*/ 40207 h 219312"/>
                    <a:gd name="connsiteX26" fmla="*/ 3167811 w 3263809"/>
                    <a:gd name="connsiteY26" fmla="*/ 43158 h 2193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3263809" h="219312">
                      <a:moveTo>
                        <a:pt x="3167811" y="43158"/>
                      </a:moveTo>
                      <a:cubicBezTo>
                        <a:pt x="3290641" y="54957"/>
                        <a:pt x="3300876" y="196410"/>
                        <a:pt x="3167811" y="211622"/>
                      </a:cubicBezTo>
                      <a:lnTo>
                        <a:pt x="3139836" y="214286"/>
                      </a:lnTo>
                      <a:lnTo>
                        <a:pt x="1691467" y="219312"/>
                      </a:lnTo>
                      <a:lnTo>
                        <a:pt x="1430578" y="215200"/>
                      </a:lnTo>
                      <a:lnTo>
                        <a:pt x="113795" y="202864"/>
                      </a:lnTo>
                      <a:cubicBezTo>
                        <a:pt x="22110" y="202026"/>
                        <a:pt x="107855" y="202407"/>
                        <a:pt x="105113" y="201036"/>
                      </a:cubicBezTo>
                      <a:lnTo>
                        <a:pt x="15561" y="111027"/>
                      </a:lnTo>
                      <a:cubicBezTo>
                        <a:pt x="5053" y="100518"/>
                        <a:pt x="-431" y="87268"/>
                        <a:pt x="27" y="72190"/>
                      </a:cubicBezTo>
                      <a:cubicBezTo>
                        <a:pt x="484" y="48431"/>
                        <a:pt x="940" y="24216"/>
                        <a:pt x="1854" y="0"/>
                      </a:cubicBezTo>
                      <a:lnTo>
                        <a:pt x="1023480" y="5940"/>
                      </a:lnTo>
                      <a:cubicBezTo>
                        <a:pt x="1087979" y="5940"/>
                        <a:pt x="1030791" y="6396"/>
                        <a:pt x="1034446" y="8224"/>
                      </a:cubicBezTo>
                      <a:cubicBezTo>
                        <a:pt x="1071455" y="26043"/>
                        <a:pt x="1109834" y="40664"/>
                        <a:pt x="1151412" y="45690"/>
                      </a:cubicBezTo>
                      <a:cubicBezTo>
                        <a:pt x="1151869" y="47061"/>
                        <a:pt x="1152783" y="47974"/>
                        <a:pt x="1153697" y="49345"/>
                      </a:cubicBezTo>
                      <a:cubicBezTo>
                        <a:pt x="1171973" y="52543"/>
                        <a:pt x="1190705" y="62138"/>
                        <a:pt x="1207154" y="44776"/>
                      </a:cubicBezTo>
                      <a:cubicBezTo>
                        <a:pt x="1218119" y="33810"/>
                        <a:pt x="1228628" y="23302"/>
                        <a:pt x="1239137" y="12336"/>
                      </a:cubicBezTo>
                      <a:cubicBezTo>
                        <a:pt x="1240050" y="12336"/>
                        <a:pt x="1241421" y="12793"/>
                        <a:pt x="1242335" y="12793"/>
                      </a:cubicBezTo>
                      <a:cubicBezTo>
                        <a:pt x="1262439" y="15078"/>
                        <a:pt x="1282542" y="18733"/>
                        <a:pt x="1303103" y="15534"/>
                      </a:cubicBezTo>
                      <a:lnTo>
                        <a:pt x="1634355" y="21474"/>
                      </a:lnTo>
                      <a:lnTo>
                        <a:pt x="1636182" y="21474"/>
                      </a:lnTo>
                      <a:lnTo>
                        <a:pt x="2103133" y="26500"/>
                      </a:lnTo>
                      <a:lnTo>
                        <a:pt x="2454945" y="27414"/>
                      </a:lnTo>
                      <a:cubicBezTo>
                        <a:pt x="2523632" y="28251"/>
                        <a:pt x="2471317" y="30688"/>
                        <a:pt x="2515256" y="31526"/>
                      </a:cubicBezTo>
                      <a:cubicBezTo>
                        <a:pt x="2583334" y="35181"/>
                        <a:pt x="2650955" y="35181"/>
                        <a:pt x="2718576" y="32440"/>
                      </a:cubicBezTo>
                      <a:lnTo>
                        <a:pt x="3028353" y="37466"/>
                      </a:lnTo>
                      <a:cubicBezTo>
                        <a:pt x="3060793" y="38836"/>
                        <a:pt x="3093690" y="40664"/>
                        <a:pt x="3126129" y="40207"/>
                      </a:cubicBezTo>
                      <a:lnTo>
                        <a:pt x="3167811" y="43158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50000"/>
                  </a:schemeClr>
                </a:solidFill>
                <a:ln w="9525" cap="flat">
                  <a:noFill/>
                  <a:prstDash val="solid"/>
                  <a:miter/>
                </a:ln>
                <a:effectLst>
                  <a:innerShdw blurRad="63500" dist="50800">
                    <a:schemeClr val="accent1">
                      <a:lumMod val="50000"/>
                      <a:alpha val="50000"/>
                    </a:schemeClr>
                  </a:innerShdw>
                </a:effectLst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1" name="Freeform: Shape 78">
                <a:extLst>
                  <a:ext uri="{FF2B5EF4-FFF2-40B4-BE49-F238E27FC236}">
                    <a16:creationId xmlns="" xmlns:a16="http://schemas.microsoft.com/office/drawing/2014/main" id="{DD8B563E-8D6D-4914-9CDA-8DCF6C957B47}"/>
                  </a:ext>
                </a:extLst>
              </p:cNvPr>
              <p:cNvSpPr/>
              <p:nvPr/>
            </p:nvSpPr>
            <p:spPr>
              <a:xfrm rot="20777766">
                <a:off x="9161751" y="3139077"/>
                <a:ext cx="264773" cy="259550"/>
              </a:xfrm>
              <a:custGeom>
                <a:avLst/>
                <a:gdLst>
                  <a:gd name="connsiteX0" fmla="*/ 198968 w 286440"/>
                  <a:gd name="connsiteY0" fmla="*/ 5528 h 280790"/>
                  <a:gd name="connsiteX1" fmla="*/ 286440 w 286440"/>
                  <a:gd name="connsiteY1" fmla="*/ 137530 h 280790"/>
                  <a:gd name="connsiteX2" fmla="*/ 143220 w 286440"/>
                  <a:gd name="connsiteY2" fmla="*/ 280790 h 280790"/>
                  <a:gd name="connsiteX3" fmla="*/ 0 w 286440"/>
                  <a:gd name="connsiteY3" fmla="*/ 137530 h 280790"/>
                  <a:gd name="connsiteX4" fmla="*/ 87473 w 286440"/>
                  <a:gd name="connsiteY4" fmla="*/ 5528 h 280790"/>
                  <a:gd name="connsiteX5" fmla="*/ 114847 w 286440"/>
                  <a:gd name="connsiteY5" fmla="*/ 0 h 280790"/>
                  <a:gd name="connsiteX6" fmla="*/ 117610 w 286440"/>
                  <a:gd name="connsiteY6" fmla="*/ 42416 h 280790"/>
                  <a:gd name="connsiteX7" fmla="*/ 106603 w 286440"/>
                  <a:gd name="connsiteY7" fmla="*/ 98156 h 280790"/>
                  <a:gd name="connsiteX8" fmla="*/ 104974 w 286440"/>
                  <a:gd name="connsiteY8" fmla="*/ 99256 h 280790"/>
                  <a:gd name="connsiteX9" fmla="*/ 89132 w 286440"/>
                  <a:gd name="connsiteY9" fmla="*/ 137530 h 280790"/>
                  <a:gd name="connsiteX10" fmla="*/ 143220 w 286440"/>
                  <a:gd name="connsiteY10" fmla="*/ 191658 h 280790"/>
                  <a:gd name="connsiteX11" fmla="*/ 197308 w 286440"/>
                  <a:gd name="connsiteY11" fmla="*/ 137530 h 280790"/>
                  <a:gd name="connsiteX12" fmla="*/ 181968 w 286440"/>
                  <a:gd name="connsiteY12" fmla="*/ 100468 h 280790"/>
                  <a:gd name="connsiteX13" fmla="*/ 192485 w 286440"/>
                  <a:gd name="connsiteY13" fmla="*/ 47208 h 280790"/>
                  <a:gd name="connsiteX14" fmla="*/ 189647 w 286440"/>
                  <a:gd name="connsiteY14" fmla="*/ 3646 h 280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6440" h="280790">
                    <a:moveTo>
                      <a:pt x="198968" y="5528"/>
                    </a:moveTo>
                    <a:cubicBezTo>
                      <a:pt x="250372" y="27276"/>
                      <a:pt x="286440" y="78190"/>
                      <a:pt x="286440" y="137530"/>
                    </a:cubicBezTo>
                    <a:cubicBezTo>
                      <a:pt x="286440" y="216650"/>
                      <a:pt x="222318" y="280790"/>
                      <a:pt x="143220" y="280790"/>
                    </a:cubicBezTo>
                    <a:cubicBezTo>
                      <a:pt x="64122" y="280790"/>
                      <a:pt x="0" y="216650"/>
                      <a:pt x="0" y="137530"/>
                    </a:cubicBezTo>
                    <a:cubicBezTo>
                      <a:pt x="0" y="78190"/>
                      <a:pt x="36068" y="27276"/>
                      <a:pt x="87473" y="5528"/>
                    </a:cubicBezTo>
                    <a:lnTo>
                      <a:pt x="114847" y="0"/>
                    </a:lnTo>
                    <a:lnTo>
                      <a:pt x="117610" y="42416"/>
                    </a:lnTo>
                    <a:lnTo>
                      <a:pt x="106603" y="98156"/>
                    </a:lnTo>
                    <a:lnTo>
                      <a:pt x="104974" y="99256"/>
                    </a:lnTo>
                    <a:cubicBezTo>
                      <a:pt x="95186" y="109051"/>
                      <a:pt x="89132" y="122583"/>
                      <a:pt x="89132" y="137530"/>
                    </a:cubicBezTo>
                    <a:cubicBezTo>
                      <a:pt x="89132" y="167424"/>
                      <a:pt x="113348" y="191658"/>
                      <a:pt x="143220" y="191658"/>
                    </a:cubicBezTo>
                    <a:cubicBezTo>
                      <a:pt x="173092" y="191658"/>
                      <a:pt x="197308" y="167424"/>
                      <a:pt x="197308" y="137530"/>
                    </a:cubicBezTo>
                    <a:lnTo>
                      <a:pt x="181968" y="100468"/>
                    </a:lnTo>
                    <a:lnTo>
                      <a:pt x="192485" y="47208"/>
                    </a:lnTo>
                    <a:lnTo>
                      <a:pt x="189647" y="3646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Freeform: Shape 77">
                <a:extLst>
                  <a:ext uri="{FF2B5EF4-FFF2-40B4-BE49-F238E27FC236}">
                    <a16:creationId xmlns="" xmlns:a16="http://schemas.microsoft.com/office/drawing/2014/main" id="{7C095FD7-2AE9-4379-9DB1-F8224FF71446}"/>
                  </a:ext>
                </a:extLst>
              </p:cNvPr>
              <p:cNvSpPr/>
              <p:nvPr/>
            </p:nvSpPr>
            <p:spPr>
              <a:xfrm rot="20519449">
                <a:off x="9161753" y="3115781"/>
                <a:ext cx="264773" cy="259550"/>
              </a:xfrm>
              <a:custGeom>
                <a:avLst/>
                <a:gdLst>
                  <a:gd name="connsiteX0" fmla="*/ 198968 w 286440"/>
                  <a:gd name="connsiteY0" fmla="*/ 5528 h 280790"/>
                  <a:gd name="connsiteX1" fmla="*/ 286440 w 286440"/>
                  <a:gd name="connsiteY1" fmla="*/ 137530 h 280790"/>
                  <a:gd name="connsiteX2" fmla="*/ 143220 w 286440"/>
                  <a:gd name="connsiteY2" fmla="*/ 280790 h 280790"/>
                  <a:gd name="connsiteX3" fmla="*/ 0 w 286440"/>
                  <a:gd name="connsiteY3" fmla="*/ 137530 h 280790"/>
                  <a:gd name="connsiteX4" fmla="*/ 87473 w 286440"/>
                  <a:gd name="connsiteY4" fmla="*/ 5528 h 280790"/>
                  <a:gd name="connsiteX5" fmla="*/ 114847 w 286440"/>
                  <a:gd name="connsiteY5" fmla="*/ 0 h 280790"/>
                  <a:gd name="connsiteX6" fmla="*/ 117610 w 286440"/>
                  <a:gd name="connsiteY6" fmla="*/ 42416 h 280790"/>
                  <a:gd name="connsiteX7" fmla="*/ 106603 w 286440"/>
                  <a:gd name="connsiteY7" fmla="*/ 98156 h 280790"/>
                  <a:gd name="connsiteX8" fmla="*/ 104974 w 286440"/>
                  <a:gd name="connsiteY8" fmla="*/ 99256 h 280790"/>
                  <a:gd name="connsiteX9" fmla="*/ 89132 w 286440"/>
                  <a:gd name="connsiteY9" fmla="*/ 137530 h 280790"/>
                  <a:gd name="connsiteX10" fmla="*/ 143220 w 286440"/>
                  <a:gd name="connsiteY10" fmla="*/ 191658 h 280790"/>
                  <a:gd name="connsiteX11" fmla="*/ 197308 w 286440"/>
                  <a:gd name="connsiteY11" fmla="*/ 137530 h 280790"/>
                  <a:gd name="connsiteX12" fmla="*/ 181968 w 286440"/>
                  <a:gd name="connsiteY12" fmla="*/ 100468 h 280790"/>
                  <a:gd name="connsiteX13" fmla="*/ 192485 w 286440"/>
                  <a:gd name="connsiteY13" fmla="*/ 47208 h 280790"/>
                  <a:gd name="connsiteX14" fmla="*/ 189647 w 286440"/>
                  <a:gd name="connsiteY14" fmla="*/ 3646 h 280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6440" h="280790">
                    <a:moveTo>
                      <a:pt x="198968" y="5528"/>
                    </a:moveTo>
                    <a:cubicBezTo>
                      <a:pt x="250372" y="27276"/>
                      <a:pt x="286440" y="78190"/>
                      <a:pt x="286440" y="137530"/>
                    </a:cubicBezTo>
                    <a:cubicBezTo>
                      <a:pt x="286440" y="216650"/>
                      <a:pt x="222318" y="280790"/>
                      <a:pt x="143220" y="280790"/>
                    </a:cubicBezTo>
                    <a:cubicBezTo>
                      <a:pt x="64122" y="280790"/>
                      <a:pt x="0" y="216650"/>
                      <a:pt x="0" y="137530"/>
                    </a:cubicBezTo>
                    <a:cubicBezTo>
                      <a:pt x="0" y="78190"/>
                      <a:pt x="36068" y="27276"/>
                      <a:pt x="87473" y="5528"/>
                    </a:cubicBezTo>
                    <a:lnTo>
                      <a:pt x="114847" y="0"/>
                    </a:lnTo>
                    <a:lnTo>
                      <a:pt x="117610" y="42416"/>
                    </a:lnTo>
                    <a:lnTo>
                      <a:pt x="106603" y="98156"/>
                    </a:lnTo>
                    <a:lnTo>
                      <a:pt x="104974" y="99256"/>
                    </a:lnTo>
                    <a:cubicBezTo>
                      <a:pt x="95186" y="109051"/>
                      <a:pt x="89132" y="122583"/>
                      <a:pt x="89132" y="137530"/>
                    </a:cubicBezTo>
                    <a:cubicBezTo>
                      <a:pt x="89132" y="167424"/>
                      <a:pt x="113348" y="191658"/>
                      <a:pt x="143220" y="191658"/>
                    </a:cubicBezTo>
                    <a:cubicBezTo>
                      <a:pt x="173092" y="191658"/>
                      <a:pt x="197308" y="167424"/>
                      <a:pt x="197308" y="137530"/>
                    </a:cubicBezTo>
                    <a:lnTo>
                      <a:pt x="181968" y="100468"/>
                    </a:lnTo>
                    <a:lnTo>
                      <a:pt x="192485" y="47208"/>
                    </a:lnTo>
                    <a:lnTo>
                      <a:pt x="189647" y="364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Freeform: Shape 69">
                <a:extLst>
                  <a:ext uri="{FF2B5EF4-FFF2-40B4-BE49-F238E27FC236}">
                    <a16:creationId xmlns="" xmlns:a16="http://schemas.microsoft.com/office/drawing/2014/main" id="{D889DFE8-432A-4DA4-B7C1-11A19BBD4CE5}"/>
                  </a:ext>
                </a:extLst>
              </p:cNvPr>
              <p:cNvSpPr/>
              <p:nvPr/>
            </p:nvSpPr>
            <p:spPr>
              <a:xfrm>
                <a:off x="8562265" y="3092620"/>
                <a:ext cx="2838422" cy="2202664"/>
              </a:xfrm>
              <a:custGeom>
                <a:avLst/>
                <a:gdLst>
                  <a:gd name="connsiteX0" fmla="*/ 1437118 w 2838422"/>
                  <a:gd name="connsiteY0" fmla="*/ 1112999 h 2185835"/>
                  <a:gd name="connsiteX1" fmla="*/ 1437118 w 2838422"/>
                  <a:gd name="connsiteY1" fmla="*/ 1395540 h 2185835"/>
                  <a:gd name="connsiteX2" fmla="*/ 1719658 w 2838422"/>
                  <a:gd name="connsiteY2" fmla="*/ 1395540 h 2185835"/>
                  <a:gd name="connsiteX3" fmla="*/ 1719658 w 2838422"/>
                  <a:gd name="connsiteY3" fmla="*/ 1112999 h 2185835"/>
                  <a:gd name="connsiteX4" fmla="*/ 1114623 w 2838422"/>
                  <a:gd name="connsiteY4" fmla="*/ 1112999 h 2185835"/>
                  <a:gd name="connsiteX5" fmla="*/ 1114623 w 2838422"/>
                  <a:gd name="connsiteY5" fmla="*/ 1395540 h 2185835"/>
                  <a:gd name="connsiteX6" fmla="*/ 1397163 w 2838422"/>
                  <a:gd name="connsiteY6" fmla="*/ 1395540 h 2185835"/>
                  <a:gd name="connsiteX7" fmla="*/ 1397163 w 2838422"/>
                  <a:gd name="connsiteY7" fmla="*/ 1112999 h 2185835"/>
                  <a:gd name="connsiteX8" fmla="*/ 1437118 w 2838422"/>
                  <a:gd name="connsiteY8" fmla="*/ 775522 h 2185835"/>
                  <a:gd name="connsiteX9" fmla="*/ 1437118 w 2838422"/>
                  <a:gd name="connsiteY9" fmla="*/ 1058062 h 2185835"/>
                  <a:gd name="connsiteX10" fmla="*/ 1719658 w 2838422"/>
                  <a:gd name="connsiteY10" fmla="*/ 1058062 h 2185835"/>
                  <a:gd name="connsiteX11" fmla="*/ 1719658 w 2838422"/>
                  <a:gd name="connsiteY11" fmla="*/ 775522 h 2185835"/>
                  <a:gd name="connsiteX12" fmla="*/ 1114623 w 2838422"/>
                  <a:gd name="connsiteY12" fmla="*/ 775522 h 2185835"/>
                  <a:gd name="connsiteX13" fmla="*/ 1114623 w 2838422"/>
                  <a:gd name="connsiteY13" fmla="*/ 1058062 h 2185835"/>
                  <a:gd name="connsiteX14" fmla="*/ 1397163 w 2838422"/>
                  <a:gd name="connsiteY14" fmla="*/ 1058062 h 2185835"/>
                  <a:gd name="connsiteX15" fmla="*/ 1397163 w 2838422"/>
                  <a:gd name="connsiteY15" fmla="*/ 775522 h 2185835"/>
                  <a:gd name="connsiteX16" fmla="*/ 1342116 w 2838422"/>
                  <a:gd name="connsiteY16" fmla="*/ 0 h 2185835"/>
                  <a:gd name="connsiteX17" fmla="*/ 1496309 w 2838422"/>
                  <a:gd name="connsiteY17" fmla="*/ 0 h 2185835"/>
                  <a:gd name="connsiteX18" fmla="*/ 1486851 w 2838422"/>
                  <a:gd name="connsiteY18" fmla="*/ 6377 h 2185835"/>
                  <a:gd name="connsiteX19" fmla="*/ 1519539 w 2838422"/>
                  <a:gd name="connsiteY19" fmla="*/ 24115 h 2185835"/>
                  <a:gd name="connsiteX20" fmla="*/ 1560949 w 2838422"/>
                  <a:gd name="connsiteY20" fmla="*/ 51550 h 2185835"/>
                  <a:gd name="connsiteX21" fmla="*/ 1854298 w 2838422"/>
                  <a:gd name="connsiteY21" fmla="*/ 262704 h 2185835"/>
                  <a:gd name="connsiteX22" fmla="*/ 1919487 w 2838422"/>
                  <a:gd name="connsiteY22" fmla="*/ 234362 h 2185835"/>
                  <a:gd name="connsiteX23" fmla="*/ 2047030 w 2838422"/>
                  <a:gd name="connsiteY23" fmla="*/ 111069 h 2185835"/>
                  <a:gd name="connsiteX24" fmla="*/ 2174571 w 2838422"/>
                  <a:gd name="connsiteY24" fmla="*/ 111069 h 2185835"/>
                  <a:gd name="connsiteX25" fmla="*/ 2270936 w 2838422"/>
                  <a:gd name="connsiteY25" fmla="*/ 207434 h 2185835"/>
                  <a:gd name="connsiteX26" fmla="*/ 2269520 w 2838422"/>
                  <a:gd name="connsiteY26" fmla="*/ 469607 h 2185835"/>
                  <a:gd name="connsiteX27" fmla="*/ 2348879 w 2838422"/>
                  <a:gd name="connsiteY27" fmla="*/ 619823 h 2185835"/>
                  <a:gd name="connsiteX28" fmla="*/ 2752765 w 2838422"/>
                  <a:gd name="connsiteY28" fmla="*/ 907503 h 2185835"/>
                  <a:gd name="connsiteX29" fmla="*/ 2837793 w 2838422"/>
                  <a:gd name="connsiteY29" fmla="*/ 1022292 h 2185835"/>
                  <a:gd name="connsiteX30" fmla="*/ 2778273 w 2838422"/>
                  <a:gd name="connsiteY30" fmla="*/ 1149834 h 2185835"/>
                  <a:gd name="connsiteX31" fmla="*/ 2596881 w 2838422"/>
                  <a:gd name="connsiteY31" fmla="*/ 1149834 h 2185835"/>
                  <a:gd name="connsiteX32" fmla="*/ 2354550 w 2838422"/>
                  <a:gd name="connsiteY32" fmla="*/ 978361 h 2185835"/>
                  <a:gd name="connsiteX33" fmla="*/ 2283692 w 2838422"/>
                  <a:gd name="connsiteY33" fmla="*/ 940098 h 2185835"/>
                  <a:gd name="connsiteX34" fmla="*/ 2270936 w 2838422"/>
                  <a:gd name="connsiteY34" fmla="*/ 1018039 h 2185835"/>
                  <a:gd name="connsiteX35" fmla="*/ 2270936 w 2838422"/>
                  <a:gd name="connsiteY35" fmla="*/ 1531046 h 2185835"/>
                  <a:gd name="connsiteX36" fmla="*/ 2270936 w 2838422"/>
                  <a:gd name="connsiteY36" fmla="*/ 2048302 h 2185835"/>
                  <a:gd name="connsiteX37" fmla="*/ 2140560 w 2838422"/>
                  <a:gd name="connsiteY37" fmla="*/ 2184348 h 2185835"/>
                  <a:gd name="connsiteX38" fmla="*/ 1743761 w 2838422"/>
                  <a:gd name="connsiteY38" fmla="*/ 2185765 h 2185835"/>
                  <a:gd name="connsiteX39" fmla="*/ 1674320 w 2838422"/>
                  <a:gd name="connsiteY39" fmla="*/ 2114907 h 2185835"/>
                  <a:gd name="connsiteX40" fmla="*/ 1675739 w 2838422"/>
                  <a:gd name="connsiteY40" fmla="*/ 1760622 h 2185835"/>
                  <a:gd name="connsiteX41" fmla="*/ 1590709 w 2838422"/>
                  <a:gd name="connsiteY41" fmla="*/ 1671341 h 2185835"/>
                  <a:gd name="connsiteX42" fmla="*/ 1250596 w 2838422"/>
                  <a:gd name="connsiteY42" fmla="*/ 1671341 h 2185835"/>
                  <a:gd name="connsiteX43" fmla="*/ 1165569 w 2838422"/>
                  <a:gd name="connsiteY43" fmla="*/ 1760622 h 2185835"/>
                  <a:gd name="connsiteX44" fmla="*/ 1166985 w 2838422"/>
                  <a:gd name="connsiteY44" fmla="*/ 2114907 h 2185835"/>
                  <a:gd name="connsiteX45" fmla="*/ 1096128 w 2838422"/>
                  <a:gd name="connsiteY45" fmla="*/ 2184348 h 2185835"/>
                  <a:gd name="connsiteX46" fmla="*/ 706414 w 2838422"/>
                  <a:gd name="connsiteY46" fmla="*/ 2182932 h 2185835"/>
                  <a:gd name="connsiteX47" fmla="*/ 570368 w 2838422"/>
                  <a:gd name="connsiteY47" fmla="*/ 2045466 h 2185835"/>
                  <a:gd name="connsiteX48" fmla="*/ 568952 w 2838422"/>
                  <a:gd name="connsiteY48" fmla="*/ 1003870 h 2185835"/>
                  <a:gd name="connsiteX49" fmla="*/ 554779 w 2838422"/>
                  <a:gd name="connsiteY49" fmla="*/ 940098 h 2185835"/>
                  <a:gd name="connsiteX50" fmla="*/ 500928 w 2838422"/>
                  <a:gd name="connsiteY50" fmla="*/ 968439 h 2185835"/>
                  <a:gd name="connsiteX51" fmla="*/ 265682 w 2838422"/>
                  <a:gd name="connsiteY51" fmla="*/ 1138496 h 2185835"/>
                  <a:gd name="connsiteX52" fmla="*/ 139558 w 2838422"/>
                  <a:gd name="connsiteY52" fmla="*/ 1176760 h 2185835"/>
                  <a:gd name="connsiteX53" fmla="*/ 6345 w 2838422"/>
                  <a:gd name="connsiteY53" fmla="*/ 1077560 h 2185835"/>
                  <a:gd name="connsiteX54" fmla="*/ 61615 w 2838422"/>
                  <a:gd name="connsiteY54" fmla="*/ 928759 h 2185835"/>
                  <a:gd name="connsiteX55" fmla="*/ 509430 w 2838422"/>
                  <a:gd name="connsiteY55" fmla="*/ 605653 h 2185835"/>
                  <a:gd name="connsiteX56" fmla="*/ 1280356 w 2838422"/>
                  <a:gd name="connsiteY56" fmla="*/ 51550 h 2185835"/>
                  <a:gd name="connsiteX57" fmla="*/ 1321301 w 2838422"/>
                  <a:gd name="connsiteY57" fmla="*/ 24115 h 2185835"/>
                  <a:gd name="connsiteX58" fmla="*/ 1352522 w 2838422"/>
                  <a:gd name="connsiteY58" fmla="*/ 7016 h 2185835"/>
                  <a:gd name="connsiteX0" fmla="*/ 1437118 w 2838422"/>
                  <a:gd name="connsiteY0" fmla="*/ 1112999 h 2185835"/>
                  <a:gd name="connsiteX1" fmla="*/ 1437118 w 2838422"/>
                  <a:gd name="connsiteY1" fmla="*/ 1395540 h 2185835"/>
                  <a:gd name="connsiteX2" fmla="*/ 1719658 w 2838422"/>
                  <a:gd name="connsiteY2" fmla="*/ 1395540 h 2185835"/>
                  <a:gd name="connsiteX3" fmla="*/ 1719658 w 2838422"/>
                  <a:gd name="connsiteY3" fmla="*/ 1112999 h 2185835"/>
                  <a:gd name="connsiteX4" fmla="*/ 1437118 w 2838422"/>
                  <a:gd name="connsiteY4" fmla="*/ 1112999 h 2185835"/>
                  <a:gd name="connsiteX5" fmla="*/ 1114623 w 2838422"/>
                  <a:gd name="connsiteY5" fmla="*/ 1112999 h 2185835"/>
                  <a:gd name="connsiteX6" fmla="*/ 1114623 w 2838422"/>
                  <a:gd name="connsiteY6" fmla="*/ 1395540 h 2185835"/>
                  <a:gd name="connsiteX7" fmla="*/ 1397163 w 2838422"/>
                  <a:gd name="connsiteY7" fmla="*/ 1395540 h 2185835"/>
                  <a:gd name="connsiteX8" fmla="*/ 1397163 w 2838422"/>
                  <a:gd name="connsiteY8" fmla="*/ 1112999 h 2185835"/>
                  <a:gd name="connsiteX9" fmla="*/ 1114623 w 2838422"/>
                  <a:gd name="connsiteY9" fmla="*/ 1112999 h 2185835"/>
                  <a:gd name="connsiteX10" fmla="*/ 1437118 w 2838422"/>
                  <a:gd name="connsiteY10" fmla="*/ 775522 h 2185835"/>
                  <a:gd name="connsiteX11" fmla="*/ 1437118 w 2838422"/>
                  <a:gd name="connsiteY11" fmla="*/ 1058062 h 2185835"/>
                  <a:gd name="connsiteX12" fmla="*/ 1719658 w 2838422"/>
                  <a:gd name="connsiteY12" fmla="*/ 1058062 h 2185835"/>
                  <a:gd name="connsiteX13" fmla="*/ 1719658 w 2838422"/>
                  <a:gd name="connsiteY13" fmla="*/ 775522 h 2185835"/>
                  <a:gd name="connsiteX14" fmla="*/ 1437118 w 2838422"/>
                  <a:gd name="connsiteY14" fmla="*/ 775522 h 2185835"/>
                  <a:gd name="connsiteX15" fmla="*/ 1114623 w 2838422"/>
                  <a:gd name="connsiteY15" fmla="*/ 775522 h 2185835"/>
                  <a:gd name="connsiteX16" fmla="*/ 1114623 w 2838422"/>
                  <a:gd name="connsiteY16" fmla="*/ 1058062 h 2185835"/>
                  <a:gd name="connsiteX17" fmla="*/ 1397163 w 2838422"/>
                  <a:gd name="connsiteY17" fmla="*/ 1058062 h 2185835"/>
                  <a:gd name="connsiteX18" fmla="*/ 1397163 w 2838422"/>
                  <a:gd name="connsiteY18" fmla="*/ 775522 h 2185835"/>
                  <a:gd name="connsiteX19" fmla="*/ 1114623 w 2838422"/>
                  <a:gd name="connsiteY19" fmla="*/ 775522 h 2185835"/>
                  <a:gd name="connsiteX20" fmla="*/ 1352522 w 2838422"/>
                  <a:gd name="connsiteY20" fmla="*/ 7016 h 2185835"/>
                  <a:gd name="connsiteX21" fmla="*/ 1496309 w 2838422"/>
                  <a:gd name="connsiteY21" fmla="*/ 0 h 2185835"/>
                  <a:gd name="connsiteX22" fmla="*/ 1486851 w 2838422"/>
                  <a:gd name="connsiteY22" fmla="*/ 6377 h 2185835"/>
                  <a:gd name="connsiteX23" fmla="*/ 1519539 w 2838422"/>
                  <a:gd name="connsiteY23" fmla="*/ 24115 h 2185835"/>
                  <a:gd name="connsiteX24" fmla="*/ 1560949 w 2838422"/>
                  <a:gd name="connsiteY24" fmla="*/ 51550 h 2185835"/>
                  <a:gd name="connsiteX25" fmla="*/ 1854298 w 2838422"/>
                  <a:gd name="connsiteY25" fmla="*/ 262704 h 2185835"/>
                  <a:gd name="connsiteX26" fmla="*/ 1919487 w 2838422"/>
                  <a:gd name="connsiteY26" fmla="*/ 234362 h 2185835"/>
                  <a:gd name="connsiteX27" fmla="*/ 2047030 w 2838422"/>
                  <a:gd name="connsiteY27" fmla="*/ 111069 h 2185835"/>
                  <a:gd name="connsiteX28" fmla="*/ 2174571 w 2838422"/>
                  <a:gd name="connsiteY28" fmla="*/ 111069 h 2185835"/>
                  <a:gd name="connsiteX29" fmla="*/ 2270936 w 2838422"/>
                  <a:gd name="connsiteY29" fmla="*/ 207434 h 2185835"/>
                  <a:gd name="connsiteX30" fmla="*/ 2269520 w 2838422"/>
                  <a:gd name="connsiteY30" fmla="*/ 469607 h 2185835"/>
                  <a:gd name="connsiteX31" fmla="*/ 2348879 w 2838422"/>
                  <a:gd name="connsiteY31" fmla="*/ 619823 h 2185835"/>
                  <a:gd name="connsiteX32" fmla="*/ 2752765 w 2838422"/>
                  <a:gd name="connsiteY32" fmla="*/ 907503 h 2185835"/>
                  <a:gd name="connsiteX33" fmla="*/ 2837793 w 2838422"/>
                  <a:gd name="connsiteY33" fmla="*/ 1022292 h 2185835"/>
                  <a:gd name="connsiteX34" fmla="*/ 2778273 w 2838422"/>
                  <a:gd name="connsiteY34" fmla="*/ 1149834 h 2185835"/>
                  <a:gd name="connsiteX35" fmla="*/ 2596881 w 2838422"/>
                  <a:gd name="connsiteY35" fmla="*/ 1149834 h 2185835"/>
                  <a:gd name="connsiteX36" fmla="*/ 2354550 w 2838422"/>
                  <a:gd name="connsiteY36" fmla="*/ 978361 h 2185835"/>
                  <a:gd name="connsiteX37" fmla="*/ 2283692 w 2838422"/>
                  <a:gd name="connsiteY37" fmla="*/ 940098 h 2185835"/>
                  <a:gd name="connsiteX38" fmla="*/ 2270936 w 2838422"/>
                  <a:gd name="connsiteY38" fmla="*/ 1018039 h 2185835"/>
                  <a:gd name="connsiteX39" fmla="*/ 2270936 w 2838422"/>
                  <a:gd name="connsiteY39" fmla="*/ 1531046 h 2185835"/>
                  <a:gd name="connsiteX40" fmla="*/ 2270936 w 2838422"/>
                  <a:gd name="connsiteY40" fmla="*/ 2048302 h 2185835"/>
                  <a:gd name="connsiteX41" fmla="*/ 2140560 w 2838422"/>
                  <a:gd name="connsiteY41" fmla="*/ 2184348 h 2185835"/>
                  <a:gd name="connsiteX42" fmla="*/ 1743761 w 2838422"/>
                  <a:gd name="connsiteY42" fmla="*/ 2185765 h 2185835"/>
                  <a:gd name="connsiteX43" fmla="*/ 1674320 w 2838422"/>
                  <a:gd name="connsiteY43" fmla="*/ 2114907 h 2185835"/>
                  <a:gd name="connsiteX44" fmla="*/ 1675739 w 2838422"/>
                  <a:gd name="connsiteY44" fmla="*/ 1760622 h 2185835"/>
                  <a:gd name="connsiteX45" fmla="*/ 1590709 w 2838422"/>
                  <a:gd name="connsiteY45" fmla="*/ 1671341 h 2185835"/>
                  <a:gd name="connsiteX46" fmla="*/ 1250596 w 2838422"/>
                  <a:gd name="connsiteY46" fmla="*/ 1671341 h 2185835"/>
                  <a:gd name="connsiteX47" fmla="*/ 1165569 w 2838422"/>
                  <a:gd name="connsiteY47" fmla="*/ 1760622 h 2185835"/>
                  <a:gd name="connsiteX48" fmla="*/ 1166985 w 2838422"/>
                  <a:gd name="connsiteY48" fmla="*/ 2114907 h 2185835"/>
                  <a:gd name="connsiteX49" fmla="*/ 1096128 w 2838422"/>
                  <a:gd name="connsiteY49" fmla="*/ 2184348 h 2185835"/>
                  <a:gd name="connsiteX50" fmla="*/ 706414 w 2838422"/>
                  <a:gd name="connsiteY50" fmla="*/ 2182932 h 2185835"/>
                  <a:gd name="connsiteX51" fmla="*/ 570368 w 2838422"/>
                  <a:gd name="connsiteY51" fmla="*/ 2045466 h 2185835"/>
                  <a:gd name="connsiteX52" fmla="*/ 568952 w 2838422"/>
                  <a:gd name="connsiteY52" fmla="*/ 1003870 h 2185835"/>
                  <a:gd name="connsiteX53" fmla="*/ 554779 w 2838422"/>
                  <a:gd name="connsiteY53" fmla="*/ 940098 h 2185835"/>
                  <a:gd name="connsiteX54" fmla="*/ 500928 w 2838422"/>
                  <a:gd name="connsiteY54" fmla="*/ 968439 h 2185835"/>
                  <a:gd name="connsiteX55" fmla="*/ 265682 w 2838422"/>
                  <a:gd name="connsiteY55" fmla="*/ 1138496 h 2185835"/>
                  <a:gd name="connsiteX56" fmla="*/ 139558 w 2838422"/>
                  <a:gd name="connsiteY56" fmla="*/ 1176760 h 2185835"/>
                  <a:gd name="connsiteX57" fmla="*/ 6345 w 2838422"/>
                  <a:gd name="connsiteY57" fmla="*/ 1077560 h 2185835"/>
                  <a:gd name="connsiteX58" fmla="*/ 61615 w 2838422"/>
                  <a:gd name="connsiteY58" fmla="*/ 928759 h 2185835"/>
                  <a:gd name="connsiteX59" fmla="*/ 509430 w 2838422"/>
                  <a:gd name="connsiteY59" fmla="*/ 605653 h 2185835"/>
                  <a:gd name="connsiteX60" fmla="*/ 1280356 w 2838422"/>
                  <a:gd name="connsiteY60" fmla="*/ 51550 h 2185835"/>
                  <a:gd name="connsiteX61" fmla="*/ 1321301 w 2838422"/>
                  <a:gd name="connsiteY61" fmla="*/ 24115 h 2185835"/>
                  <a:gd name="connsiteX62" fmla="*/ 1352522 w 2838422"/>
                  <a:gd name="connsiteY62" fmla="*/ 7016 h 2185835"/>
                  <a:gd name="connsiteX0" fmla="*/ 1437118 w 2838422"/>
                  <a:gd name="connsiteY0" fmla="*/ 1112999 h 2185835"/>
                  <a:gd name="connsiteX1" fmla="*/ 1437118 w 2838422"/>
                  <a:gd name="connsiteY1" fmla="*/ 1395540 h 2185835"/>
                  <a:gd name="connsiteX2" fmla="*/ 1719658 w 2838422"/>
                  <a:gd name="connsiteY2" fmla="*/ 1395540 h 2185835"/>
                  <a:gd name="connsiteX3" fmla="*/ 1719658 w 2838422"/>
                  <a:gd name="connsiteY3" fmla="*/ 1112999 h 2185835"/>
                  <a:gd name="connsiteX4" fmla="*/ 1437118 w 2838422"/>
                  <a:gd name="connsiteY4" fmla="*/ 1112999 h 2185835"/>
                  <a:gd name="connsiteX5" fmla="*/ 1114623 w 2838422"/>
                  <a:gd name="connsiteY5" fmla="*/ 1112999 h 2185835"/>
                  <a:gd name="connsiteX6" fmla="*/ 1114623 w 2838422"/>
                  <a:gd name="connsiteY6" fmla="*/ 1395540 h 2185835"/>
                  <a:gd name="connsiteX7" fmla="*/ 1397163 w 2838422"/>
                  <a:gd name="connsiteY7" fmla="*/ 1395540 h 2185835"/>
                  <a:gd name="connsiteX8" fmla="*/ 1397163 w 2838422"/>
                  <a:gd name="connsiteY8" fmla="*/ 1112999 h 2185835"/>
                  <a:gd name="connsiteX9" fmla="*/ 1114623 w 2838422"/>
                  <a:gd name="connsiteY9" fmla="*/ 1112999 h 2185835"/>
                  <a:gd name="connsiteX10" fmla="*/ 1437118 w 2838422"/>
                  <a:gd name="connsiteY10" fmla="*/ 775522 h 2185835"/>
                  <a:gd name="connsiteX11" fmla="*/ 1437118 w 2838422"/>
                  <a:gd name="connsiteY11" fmla="*/ 1058062 h 2185835"/>
                  <a:gd name="connsiteX12" fmla="*/ 1719658 w 2838422"/>
                  <a:gd name="connsiteY12" fmla="*/ 1058062 h 2185835"/>
                  <a:gd name="connsiteX13" fmla="*/ 1719658 w 2838422"/>
                  <a:gd name="connsiteY13" fmla="*/ 775522 h 2185835"/>
                  <a:gd name="connsiteX14" fmla="*/ 1437118 w 2838422"/>
                  <a:gd name="connsiteY14" fmla="*/ 775522 h 2185835"/>
                  <a:gd name="connsiteX15" fmla="*/ 1114623 w 2838422"/>
                  <a:gd name="connsiteY15" fmla="*/ 775522 h 2185835"/>
                  <a:gd name="connsiteX16" fmla="*/ 1114623 w 2838422"/>
                  <a:gd name="connsiteY16" fmla="*/ 1058062 h 2185835"/>
                  <a:gd name="connsiteX17" fmla="*/ 1397163 w 2838422"/>
                  <a:gd name="connsiteY17" fmla="*/ 1058062 h 2185835"/>
                  <a:gd name="connsiteX18" fmla="*/ 1397163 w 2838422"/>
                  <a:gd name="connsiteY18" fmla="*/ 775522 h 2185835"/>
                  <a:gd name="connsiteX19" fmla="*/ 1114623 w 2838422"/>
                  <a:gd name="connsiteY19" fmla="*/ 775522 h 2185835"/>
                  <a:gd name="connsiteX20" fmla="*/ 1352522 w 2838422"/>
                  <a:gd name="connsiteY20" fmla="*/ 7016 h 2185835"/>
                  <a:gd name="connsiteX21" fmla="*/ 1496309 w 2838422"/>
                  <a:gd name="connsiteY21" fmla="*/ 0 h 2185835"/>
                  <a:gd name="connsiteX22" fmla="*/ 1486851 w 2838422"/>
                  <a:gd name="connsiteY22" fmla="*/ 6377 h 2185835"/>
                  <a:gd name="connsiteX23" fmla="*/ 1560949 w 2838422"/>
                  <a:gd name="connsiteY23" fmla="*/ 51550 h 2185835"/>
                  <a:gd name="connsiteX24" fmla="*/ 1854298 w 2838422"/>
                  <a:gd name="connsiteY24" fmla="*/ 262704 h 2185835"/>
                  <a:gd name="connsiteX25" fmla="*/ 1919487 w 2838422"/>
                  <a:gd name="connsiteY25" fmla="*/ 234362 h 2185835"/>
                  <a:gd name="connsiteX26" fmla="*/ 2047030 w 2838422"/>
                  <a:gd name="connsiteY26" fmla="*/ 111069 h 2185835"/>
                  <a:gd name="connsiteX27" fmla="*/ 2174571 w 2838422"/>
                  <a:gd name="connsiteY27" fmla="*/ 111069 h 2185835"/>
                  <a:gd name="connsiteX28" fmla="*/ 2270936 w 2838422"/>
                  <a:gd name="connsiteY28" fmla="*/ 207434 h 2185835"/>
                  <a:gd name="connsiteX29" fmla="*/ 2269520 w 2838422"/>
                  <a:gd name="connsiteY29" fmla="*/ 469607 h 2185835"/>
                  <a:gd name="connsiteX30" fmla="*/ 2348879 w 2838422"/>
                  <a:gd name="connsiteY30" fmla="*/ 619823 h 2185835"/>
                  <a:gd name="connsiteX31" fmla="*/ 2752765 w 2838422"/>
                  <a:gd name="connsiteY31" fmla="*/ 907503 h 2185835"/>
                  <a:gd name="connsiteX32" fmla="*/ 2837793 w 2838422"/>
                  <a:gd name="connsiteY32" fmla="*/ 1022292 h 2185835"/>
                  <a:gd name="connsiteX33" fmla="*/ 2778273 w 2838422"/>
                  <a:gd name="connsiteY33" fmla="*/ 1149834 h 2185835"/>
                  <a:gd name="connsiteX34" fmla="*/ 2596881 w 2838422"/>
                  <a:gd name="connsiteY34" fmla="*/ 1149834 h 2185835"/>
                  <a:gd name="connsiteX35" fmla="*/ 2354550 w 2838422"/>
                  <a:gd name="connsiteY35" fmla="*/ 978361 h 2185835"/>
                  <a:gd name="connsiteX36" fmla="*/ 2283692 w 2838422"/>
                  <a:gd name="connsiteY36" fmla="*/ 940098 h 2185835"/>
                  <a:gd name="connsiteX37" fmla="*/ 2270936 w 2838422"/>
                  <a:gd name="connsiteY37" fmla="*/ 1018039 h 2185835"/>
                  <a:gd name="connsiteX38" fmla="*/ 2270936 w 2838422"/>
                  <a:gd name="connsiteY38" fmla="*/ 1531046 h 2185835"/>
                  <a:gd name="connsiteX39" fmla="*/ 2270936 w 2838422"/>
                  <a:gd name="connsiteY39" fmla="*/ 2048302 h 2185835"/>
                  <a:gd name="connsiteX40" fmla="*/ 2140560 w 2838422"/>
                  <a:gd name="connsiteY40" fmla="*/ 2184348 h 2185835"/>
                  <a:gd name="connsiteX41" fmla="*/ 1743761 w 2838422"/>
                  <a:gd name="connsiteY41" fmla="*/ 2185765 h 2185835"/>
                  <a:gd name="connsiteX42" fmla="*/ 1674320 w 2838422"/>
                  <a:gd name="connsiteY42" fmla="*/ 2114907 h 2185835"/>
                  <a:gd name="connsiteX43" fmla="*/ 1675739 w 2838422"/>
                  <a:gd name="connsiteY43" fmla="*/ 1760622 h 2185835"/>
                  <a:gd name="connsiteX44" fmla="*/ 1590709 w 2838422"/>
                  <a:gd name="connsiteY44" fmla="*/ 1671341 h 2185835"/>
                  <a:gd name="connsiteX45" fmla="*/ 1250596 w 2838422"/>
                  <a:gd name="connsiteY45" fmla="*/ 1671341 h 2185835"/>
                  <a:gd name="connsiteX46" fmla="*/ 1165569 w 2838422"/>
                  <a:gd name="connsiteY46" fmla="*/ 1760622 h 2185835"/>
                  <a:gd name="connsiteX47" fmla="*/ 1166985 w 2838422"/>
                  <a:gd name="connsiteY47" fmla="*/ 2114907 h 2185835"/>
                  <a:gd name="connsiteX48" fmla="*/ 1096128 w 2838422"/>
                  <a:gd name="connsiteY48" fmla="*/ 2184348 h 2185835"/>
                  <a:gd name="connsiteX49" fmla="*/ 706414 w 2838422"/>
                  <a:gd name="connsiteY49" fmla="*/ 2182932 h 2185835"/>
                  <a:gd name="connsiteX50" fmla="*/ 570368 w 2838422"/>
                  <a:gd name="connsiteY50" fmla="*/ 2045466 h 2185835"/>
                  <a:gd name="connsiteX51" fmla="*/ 568952 w 2838422"/>
                  <a:gd name="connsiteY51" fmla="*/ 1003870 h 2185835"/>
                  <a:gd name="connsiteX52" fmla="*/ 554779 w 2838422"/>
                  <a:gd name="connsiteY52" fmla="*/ 940098 h 2185835"/>
                  <a:gd name="connsiteX53" fmla="*/ 500928 w 2838422"/>
                  <a:gd name="connsiteY53" fmla="*/ 968439 h 2185835"/>
                  <a:gd name="connsiteX54" fmla="*/ 265682 w 2838422"/>
                  <a:gd name="connsiteY54" fmla="*/ 1138496 h 2185835"/>
                  <a:gd name="connsiteX55" fmla="*/ 139558 w 2838422"/>
                  <a:gd name="connsiteY55" fmla="*/ 1176760 h 2185835"/>
                  <a:gd name="connsiteX56" fmla="*/ 6345 w 2838422"/>
                  <a:gd name="connsiteY56" fmla="*/ 1077560 h 2185835"/>
                  <a:gd name="connsiteX57" fmla="*/ 61615 w 2838422"/>
                  <a:gd name="connsiteY57" fmla="*/ 928759 h 2185835"/>
                  <a:gd name="connsiteX58" fmla="*/ 509430 w 2838422"/>
                  <a:gd name="connsiteY58" fmla="*/ 605653 h 2185835"/>
                  <a:gd name="connsiteX59" fmla="*/ 1280356 w 2838422"/>
                  <a:gd name="connsiteY59" fmla="*/ 51550 h 2185835"/>
                  <a:gd name="connsiteX60" fmla="*/ 1321301 w 2838422"/>
                  <a:gd name="connsiteY60" fmla="*/ 24115 h 2185835"/>
                  <a:gd name="connsiteX61" fmla="*/ 1352522 w 2838422"/>
                  <a:gd name="connsiteY61" fmla="*/ 7016 h 2185835"/>
                  <a:gd name="connsiteX0" fmla="*/ 1437118 w 2838422"/>
                  <a:gd name="connsiteY0" fmla="*/ 1150228 h 2223064"/>
                  <a:gd name="connsiteX1" fmla="*/ 1437118 w 2838422"/>
                  <a:gd name="connsiteY1" fmla="*/ 1432769 h 2223064"/>
                  <a:gd name="connsiteX2" fmla="*/ 1719658 w 2838422"/>
                  <a:gd name="connsiteY2" fmla="*/ 1432769 h 2223064"/>
                  <a:gd name="connsiteX3" fmla="*/ 1719658 w 2838422"/>
                  <a:gd name="connsiteY3" fmla="*/ 1150228 h 2223064"/>
                  <a:gd name="connsiteX4" fmla="*/ 1437118 w 2838422"/>
                  <a:gd name="connsiteY4" fmla="*/ 1150228 h 2223064"/>
                  <a:gd name="connsiteX5" fmla="*/ 1114623 w 2838422"/>
                  <a:gd name="connsiteY5" fmla="*/ 1150228 h 2223064"/>
                  <a:gd name="connsiteX6" fmla="*/ 1114623 w 2838422"/>
                  <a:gd name="connsiteY6" fmla="*/ 1432769 h 2223064"/>
                  <a:gd name="connsiteX7" fmla="*/ 1397163 w 2838422"/>
                  <a:gd name="connsiteY7" fmla="*/ 1432769 h 2223064"/>
                  <a:gd name="connsiteX8" fmla="*/ 1397163 w 2838422"/>
                  <a:gd name="connsiteY8" fmla="*/ 1150228 h 2223064"/>
                  <a:gd name="connsiteX9" fmla="*/ 1114623 w 2838422"/>
                  <a:gd name="connsiteY9" fmla="*/ 1150228 h 2223064"/>
                  <a:gd name="connsiteX10" fmla="*/ 1437118 w 2838422"/>
                  <a:gd name="connsiteY10" fmla="*/ 812751 h 2223064"/>
                  <a:gd name="connsiteX11" fmla="*/ 1437118 w 2838422"/>
                  <a:gd name="connsiteY11" fmla="*/ 1095291 h 2223064"/>
                  <a:gd name="connsiteX12" fmla="*/ 1719658 w 2838422"/>
                  <a:gd name="connsiteY12" fmla="*/ 1095291 h 2223064"/>
                  <a:gd name="connsiteX13" fmla="*/ 1719658 w 2838422"/>
                  <a:gd name="connsiteY13" fmla="*/ 812751 h 2223064"/>
                  <a:gd name="connsiteX14" fmla="*/ 1437118 w 2838422"/>
                  <a:gd name="connsiteY14" fmla="*/ 812751 h 2223064"/>
                  <a:gd name="connsiteX15" fmla="*/ 1114623 w 2838422"/>
                  <a:gd name="connsiteY15" fmla="*/ 812751 h 2223064"/>
                  <a:gd name="connsiteX16" fmla="*/ 1114623 w 2838422"/>
                  <a:gd name="connsiteY16" fmla="*/ 1095291 h 2223064"/>
                  <a:gd name="connsiteX17" fmla="*/ 1397163 w 2838422"/>
                  <a:gd name="connsiteY17" fmla="*/ 1095291 h 2223064"/>
                  <a:gd name="connsiteX18" fmla="*/ 1397163 w 2838422"/>
                  <a:gd name="connsiteY18" fmla="*/ 812751 h 2223064"/>
                  <a:gd name="connsiteX19" fmla="*/ 1114623 w 2838422"/>
                  <a:gd name="connsiteY19" fmla="*/ 812751 h 2223064"/>
                  <a:gd name="connsiteX20" fmla="*/ 1411515 w 2838422"/>
                  <a:gd name="connsiteY20" fmla="*/ 0 h 2223064"/>
                  <a:gd name="connsiteX21" fmla="*/ 1496309 w 2838422"/>
                  <a:gd name="connsiteY21" fmla="*/ 37229 h 2223064"/>
                  <a:gd name="connsiteX22" fmla="*/ 1486851 w 2838422"/>
                  <a:gd name="connsiteY22" fmla="*/ 43606 h 2223064"/>
                  <a:gd name="connsiteX23" fmla="*/ 1560949 w 2838422"/>
                  <a:gd name="connsiteY23" fmla="*/ 88779 h 2223064"/>
                  <a:gd name="connsiteX24" fmla="*/ 1854298 w 2838422"/>
                  <a:gd name="connsiteY24" fmla="*/ 299933 h 2223064"/>
                  <a:gd name="connsiteX25" fmla="*/ 1919487 w 2838422"/>
                  <a:gd name="connsiteY25" fmla="*/ 271591 h 2223064"/>
                  <a:gd name="connsiteX26" fmla="*/ 2047030 w 2838422"/>
                  <a:gd name="connsiteY26" fmla="*/ 148298 h 2223064"/>
                  <a:gd name="connsiteX27" fmla="*/ 2174571 w 2838422"/>
                  <a:gd name="connsiteY27" fmla="*/ 148298 h 2223064"/>
                  <a:gd name="connsiteX28" fmla="*/ 2270936 w 2838422"/>
                  <a:gd name="connsiteY28" fmla="*/ 244663 h 2223064"/>
                  <a:gd name="connsiteX29" fmla="*/ 2269520 w 2838422"/>
                  <a:gd name="connsiteY29" fmla="*/ 506836 h 2223064"/>
                  <a:gd name="connsiteX30" fmla="*/ 2348879 w 2838422"/>
                  <a:gd name="connsiteY30" fmla="*/ 657052 h 2223064"/>
                  <a:gd name="connsiteX31" fmla="*/ 2752765 w 2838422"/>
                  <a:gd name="connsiteY31" fmla="*/ 944732 h 2223064"/>
                  <a:gd name="connsiteX32" fmla="*/ 2837793 w 2838422"/>
                  <a:gd name="connsiteY32" fmla="*/ 1059521 h 2223064"/>
                  <a:gd name="connsiteX33" fmla="*/ 2778273 w 2838422"/>
                  <a:gd name="connsiteY33" fmla="*/ 1187063 h 2223064"/>
                  <a:gd name="connsiteX34" fmla="*/ 2596881 w 2838422"/>
                  <a:gd name="connsiteY34" fmla="*/ 1187063 h 2223064"/>
                  <a:gd name="connsiteX35" fmla="*/ 2354550 w 2838422"/>
                  <a:gd name="connsiteY35" fmla="*/ 1015590 h 2223064"/>
                  <a:gd name="connsiteX36" fmla="*/ 2283692 w 2838422"/>
                  <a:gd name="connsiteY36" fmla="*/ 977327 h 2223064"/>
                  <a:gd name="connsiteX37" fmla="*/ 2270936 w 2838422"/>
                  <a:gd name="connsiteY37" fmla="*/ 1055268 h 2223064"/>
                  <a:gd name="connsiteX38" fmla="*/ 2270936 w 2838422"/>
                  <a:gd name="connsiteY38" fmla="*/ 1568275 h 2223064"/>
                  <a:gd name="connsiteX39" fmla="*/ 2270936 w 2838422"/>
                  <a:gd name="connsiteY39" fmla="*/ 2085531 h 2223064"/>
                  <a:gd name="connsiteX40" fmla="*/ 2140560 w 2838422"/>
                  <a:gd name="connsiteY40" fmla="*/ 2221577 h 2223064"/>
                  <a:gd name="connsiteX41" fmla="*/ 1743761 w 2838422"/>
                  <a:gd name="connsiteY41" fmla="*/ 2222994 h 2223064"/>
                  <a:gd name="connsiteX42" fmla="*/ 1674320 w 2838422"/>
                  <a:gd name="connsiteY42" fmla="*/ 2152136 h 2223064"/>
                  <a:gd name="connsiteX43" fmla="*/ 1675739 w 2838422"/>
                  <a:gd name="connsiteY43" fmla="*/ 1797851 h 2223064"/>
                  <a:gd name="connsiteX44" fmla="*/ 1590709 w 2838422"/>
                  <a:gd name="connsiteY44" fmla="*/ 1708570 h 2223064"/>
                  <a:gd name="connsiteX45" fmla="*/ 1250596 w 2838422"/>
                  <a:gd name="connsiteY45" fmla="*/ 1708570 h 2223064"/>
                  <a:gd name="connsiteX46" fmla="*/ 1165569 w 2838422"/>
                  <a:gd name="connsiteY46" fmla="*/ 1797851 h 2223064"/>
                  <a:gd name="connsiteX47" fmla="*/ 1166985 w 2838422"/>
                  <a:gd name="connsiteY47" fmla="*/ 2152136 h 2223064"/>
                  <a:gd name="connsiteX48" fmla="*/ 1096128 w 2838422"/>
                  <a:gd name="connsiteY48" fmla="*/ 2221577 h 2223064"/>
                  <a:gd name="connsiteX49" fmla="*/ 706414 w 2838422"/>
                  <a:gd name="connsiteY49" fmla="*/ 2220161 h 2223064"/>
                  <a:gd name="connsiteX50" fmla="*/ 570368 w 2838422"/>
                  <a:gd name="connsiteY50" fmla="*/ 2082695 h 2223064"/>
                  <a:gd name="connsiteX51" fmla="*/ 568952 w 2838422"/>
                  <a:gd name="connsiteY51" fmla="*/ 1041099 h 2223064"/>
                  <a:gd name="connsiteX52" fmla="*/ 554779 w 2838422"/>
                  <a:gd name="connsiteY52" fmla="*/ 977327 h 2223064"/>
                  <a:gd name="connsiteX53" fmla="*/ 500928 w 2838422"/>
                  <a:gd name="connsiteY53" fmla="*/ 1005668 h 2223064"/>
                  <a:gd name="connsiteX54" fmla="*/ 265682 w 2838422"/>
                  <a:gd name="connsiteY54" fmla="*/ 1175725 h 2223064"/>
                  <a:gd name="connsiteX55" fmla="*/ 139558 w 2838422"/>
                  <a:gd name="connsiteY55" fmla="*/ 1213989 h 2223064"/>
                  <a:gd name="connsiteX56" fmla="*/ 6345 w 2838422"/>
                  <a:gd name="connsiteY56" fmla="*/ 1114789 h 2223064"/>
                  <a:gd name="connsiteX57" fmla="*/ 61615 w 2838422"/>
                  <a:gd name="connsiteY57" fmla="*/ 965988 h 2223064"/>
                  <a:gd name="connsiteX58" fmla="*/ 509430 w 2838422"/>
                  <a:gd name="connsiteY58" fmla="*/ 642882 h 2223064"/>
                  <a:gd name="connsiteX59" fmla="*/ 1280356 w 2838422"/>
                  <a:gd name="connsiteY59" fmla="*/ 88779 h 2223064"/>
                  <a:gd name="connsiteX60" fmla="*/ 1321301 w 2838422"/>
                  <a:gd name="connsiteY60" fmla="*/ 61344 h 2223064"/>
                  <a:gd name="connsiteX61" fmla="*/ 1411515 w 2838422"/>
                  <a:gd name="connsiteY61" fmla="*/ 0 h 2223064"/>
                  <a:gd name="connsiteX0" fmla="*/ 1437118 w 2838422"/>
                  <a:gd name="connsiteY0" fmla="*/ 1165615 h 2238451"/>
                  <a:gd name="connsiteX1" fmla="*/ 1437118 w 2838422"/>
                  <a:gd name="connsiteY1" fmla="*/ 1448156 h 2238451"/>
                  <a:gd name="connsiteX2" fmla="*/ 1719658 w 2838422"/>
                  <a:gd name="connsiteY2" fmla="*/ 1448156 h 2238451"/>
                  <a:gd name="connsiteX3" fmla="*/ 1719658 w 2838422"/>
                  <a:gd name="connsiteY3" fmla="*/ 1165615 h 2238451"/>
                  <a:gd name="connsiteX4" fmla="*/ 1437118 w 2838422"/>
                  <a:gd name="connsiteY4" fmla="*/ 1165615 h 2238451"/>
                  <a:gd name="connsiteX5" fmla="*/ 1114623 w 2838422"/>
                  <a:gd name="connsiteY5" fmla="*/ 1165615 h 2238451"/>
                  <a:gd name="connsiteX6" fmla="*/ 1114623 w 2838422"/>
                  <a:gd name="connsiteY6" fmla="*/ 1448156 h 2238451"/>
                  <a:gd name="connsiteX7" fmla="*/ 1397163 w 2838422"/>
                  <a:gd name="connsiteY7" fmla="*/ 1448156 h 2238451"/>
                  <a:gd name="connsiteX8" fmla="*/ 1397163 w 2838422"/>
                  <a:gd name="connsiteY8" fmla="*/ 1165615 h 2238451"/>
                  <a:gd name="connsiteX9" fmla="*/ 1114623 w 2838422"/>
                  <a:gd name="connsiteY9" fmla="*/ 1165615 h 2238451"/>
                  <a:gd name="connsiteX10" fmla="*/ 1437118 w 2838422"/>
                  <a:gd name="connsiteY10" fmla="*/ 828138 h 2238451"/>
                  <a:gd name="connsiteX11" fmla="*/ 1437118 w 2838422"/>
                  <a:gd name="connsiteY11" fmla="*/ 1110678 h 2238451"/>
                  <a:gd name="connsiteX12" fmla="*/ 1719658 w 2838422"/>
                  <a:gd name="connsiteY12" fmla="*/ 1110678 h 2238451"/>
                  <a:gd name="connsiteX13" fmla="*/ 1719658 w 2838422"/>
                  <a:gd name="connsiteY13" fmla="*/ 828138 h 2238451"/>
                  <a:gd name="connsiteX14" fmla="*/ 1437118 w 2838422"/>
                  <a:gd name="connsiteY14" fmla="*/ 828138 h 2238451"/>
                  <a:gd name="connsiteX15" fmla="*/ 1114623 w 2838422"/>
                  <a:gd name="connsiteY15" fmla="*/ 828138 h 2238451"/>
                  <a:gd name="connsiteX16" fmla="*/ 1114623 w 2838422"/>
                  <a:gd name="connsiteY16" fmla="*/ 1110678 h 2238451"/>
                  <a:gd name="connsiteX17" fmla="*/ 1397163 w 2838422"/>
                  <a:gd name="connsiteY17" fmla="*/ 1110678 h 2238451"/>
                  <a:gd name="connsiteX18" fmla="*/ 1397163 w 2838422"/>
                  <a:gd name="connsiteY18" fmla="*/ 828138 h 2238451"/>
                  <a:gd name="connsiteX19" fmla="*/ 1114623 w 2838422"/>
                  <a:gd name="connsiteY19" fmla="*/ 828138 h 2238451"/>
                  <a:gd name="connsiteX20" fmla="*/ 1411515 w 2838422"/>
                  <a:gd name="connsiteY20" fmla="*/ 15387 h 2238451"/>
                  <a:gd name="connsiteX21" fmla="*/ 1496309 w 2838422"/>
                  <a:gd name="connsiteY21" fmla="*/ 52616 h 2238451"/>
                  <a:gd name="connsiteX22" fmla="*/ 1427857 w 2838422"/>
                  <a:gd name="connsiteY22" fmla="*/ 0 h 2238451"/>
                  <a:gd name="connsiteX23" fmla="*/ 1560949 w 2838422"/>
                  <a:gd name="connsiteY23" fmla="*/ 104166 h 2238451"/>
                  <a:gd name="connsiteX24" fmla="*/ 1854298 w 2838422"/>
                  <a:gd name="connsiteY24" fmla="*/ 315320 h 2238451"/>
                  <a:gd name="connsiteX25" fmla="*/ 1919487 w 2838422"/>
                  <a:gd name="connsiteY25" fmla="*/ 286978 h 2238451"/>
                  <a:gd name="connsiteX26" fmla="*/ 2047030 w 2838422"/>
                  <a:gd name="connsiteY26" fmla="*/ 163685 h 2238451"/>
                  <a:gd name="connsiteX27" fmla="*/ 2174571 w 2838422"/>
                  <a:gd name="connsiteY27" fmla="*/ 163685 h 2238451"/>
                  <a:gd name="connsiteX28" fmla="*/ 2270936 w 2838422"/>
                  <a:gd name="connsiteY28" fmla="*/ 260050 h 2238451"/>
                  <a:gd name="connsiteX29" fmla="*/ 2269520 w 2838422"/>
                  <a:gd name="connsiteY29" fmla="*/ 522223 h 2238451"/>
                  <a:gd name="connsiteX30" fmla="*/ 2348879 w 2838422"/>
                  <a:gd name="connsiteY30" fmla="*/ 672439 h 2238451"/>
                  <a:gd name="connsiteX31" fmla="*/ 2752765 w 2838422"/>
                  <a:gd name="connsiteY31" fmla="*/ 960119 h 2238451"/>
                  <a:gd name="connsiteX32" fmla="*/ 2837793 w 2838422"/>
                  <a:gd name="connsiteY32" fmla="*/ 1074908 h 2238451"/>
                  <a:gd name="connsiteX33" fmla="*/ 2778273 w 2838422"/>
                  <a:gd name="connsiteY33" fmla="*/ 1202450 h 2238451"/>
                  <a:gd name="connsiteX34" fmla="*/ 2596881 w 2838422"/>
                  <a:gd name="connsiteY34" fmla="*/ 1202450 h 2238451"/>
                  <a:gd name="connsiteX35" fmla="*/ 2354550 w 2838422"/>
                  <a:gd name="connsiteY35" fmla="*/ 1030977 h 2238451"/>
                  <a:gd name="connsiteX36" fmla="*/ 2283692 w 2838422"/>
                  <a:gd name="connsiteY36" fmla="*/ 992714 h 2238451"/>
                  <a:gd name="connsiteX37" fmla="*/ 2270936 w 2838422"/>
                  <a:gd name="connsiteY37" fmla="*/ 1070655 h 2238451"/>
                  <a:gd name="connsiteX38" fmla="*/ 2270936 w 2838422"/>
                  <a:gd name="connsiteY38" fmla="*/ 1583662 h 2238451"/>
                  <a:gd name="connsiteX39" fmla="*/ 2270936 w 2838422"/>
                  <a:gd name="connsiteY39" fmla="*/ 2100918 h 2238451"/>
                  <a:gd name="connsiteX40" fmla="*/ 2140560 w 2838422"/>
                  <a:gd name="connsiteY40" fmla="*/ 2236964 h 2238451"/>
                  <a:gd name="connsiteX41" fmla="*/ 1743761 w 2838422"/>
                  <a:gd name="connsiteY41" fmla="*/ 2238381 h 2238451"/>
                  <a:gd name="connsiteX42" fmla="*/ 1674320 w 2838422"/>
                  <a:gd name="connsiteY42" fmla="*/ 2167523 h 2238451"/>
                  <a:gd name="connsiteX43" fmla="*/ 1675739 w 2838422"/>
                  <a:gd name="connsiteY43" fmla="*/ 1813238 h 2238451"/>
                  <a:gd name="connsiteX44" fmla="*/ 1590709 w 2838422"/>
                  <a:gd name="connsiteY44" fmla="*/ 1723957 h 2238451"/>
                  <a:gd name="connsiteX45" fmla="*/ 1250596 w 2838422"/>
                  <a:gd name="connsiteY45" fmla="*/ 1723957 h 2238451"/>
                  <a:gd name="connsiteX46" fmla="*/ 1165569 w 2838422"/>
                  <a:gd name="connsiteY46" fmla="*/ 1813238 h 2238451"/>
                  <a:gd name="connsiteX47" fmla="*/ 1166985 w 2838422"/>
                  <a:gd name="connsiteY47" fmla="*/ 2167523 h 2238451"/>
                  <a:gd name="connsiteX48" fmla="*/ 1096128 w 2838422"/>
                  <a:gd name="connsiteY48" fmla="*/ 2236964 h 2238451"/>
                  <a:gd name="connsiteX49" fmla="*/ 706414 w 2838422"/>
                  <a:gd name="connsiteY49" fmla="*/ 2235548 h 2238451"/>
                  <a:gd name="connsiteX50" fmla="*/ 570368 w 2838422"/>
                  <a:gd name="connsiteY50" fmla="*/ 2098082 h 2238451"/>
                  <a:gd name="connsiteX51" fmla="*/ 568952 w 2838422"/>
                  <a:gd name="connsiteY51" fmla="*/ 1056486 h 2238451"/>
                  <a:gd name="connsiteX52" fmla="*/ 554779 w 2838422"/>
                  <a:gd name="connsiteY52" fmla="*/ 992714 h 2238451"/>
                  <a:gd name="connsiteX53" fmla="*/ 500928 w 2838422"/>
                  <a:gd name="connsiteY53" fmla="*/ 1021055 h 2238451"/>
                  <a:gd name="connsiteX54" fmla="*/ 265682 w 2838422"/>
                  <a:gd name="connsiteY54" fmla="*/ 1191112 h 2238451"/>
                  <a:gd name="connsiteX55" fmla="*/ 139558 w 2838422"/>
                  <a:gd name="connsiteY55" fmla="*/ 1229376 h 2238451"/>
                  <a:gd name="connsiteX56" fmla="*/ 6345 w 2838422"/>
                  <a:gd name="connsiteY56" fmla="*/ 1130176 h 2238451"/>
                  <a:gd name="connsiteX57" fmla="*/ 61615 w 2838422"/>
                  <a:gd name="connsiteY57" fmla="*/ 981375 h 2238451"/>
                  <a:gd name="connsiteX58" fmla="*/ 509430 w 2838422"/>
                  <a:gd name="connsiteY58" fmla="*/ 658269 h 2238451"/>
                  <a:gd name="connsiteX59" fmla="*/ 1280356 w 2838422"/>
                  <a:gd name="connsiteY59" fmla="*/ 104166 h 2238451"/>
                  <a:gd name="connsiteX60" fmla="*/ 1321301 w 2838422"/>
                  <a:gd name="connsiteY60" fmla="*/ 76731 h 2238451"/>
                  <a:gd name="connsiteX61" fmla="*/ 1411515 w 2838422"/>
                  <a:gd name="connsiteY61" fmla="*/ 15387 h 2238451"/>
                  <a:gd name="connsiteX0" fmla="*/ 1437118 w 2838422"/>
                  <a:gd name="connsiteY0" fmla="*/ 1165615 h 2238451"/>
                  <a:gd name="connsiteX1" fmla="*/ 1437118 w 2838422"/>
                  <a:gd name="connsiteY1" fmla="*/ 1448156 h 2238451"/>
                  <a:gd name="connsiteX2" fmla="*/ 1719658 w 2838422"/>
                  <a:gd name="connsiteY2" fmla="*/ 1448156 h 2238451"/>
                  <a:gd name="connsiteX3" fmla="*/ 1719658 w 2838422"/>
                  <a:gd name="connsiteY3" fmla="*/ 1165615 h 2238451"/>
                  <a:gd name="connsiteX4" fmla="*/ 1437118 w 2838422"/>
                  <a:gd name="connsiteY4" fmla="*/ 1165615 h 2238451"/>
                  <a:gd name="connsiteX5" fmla="*/ 1114623 w 2838422"/>
                  <a:gd name="connsiteY5" fmla="*/ 1165615 h 2238451"/>
                  <a:gd name="connsiteX6" fmla="*/ 1114623 w 2838422"/>
                  <a:gd name="connsiteY6" fmla="*/ 1448156 h 2238451"/>
                  <a:gd name="connsiteX7" fmla="*/ 1397163 w 2838422"/>
                  <a:gd name="connsiteY7" fmla="*/ 1448156 h 2238451"/>
                  <a:gd name="connsiteX8" fmla="*/ 1397163 w 2838422"/>
                  <a:gd name="connsiteY8" fmla="*/ 1165615 h 2238451"/>
                  <a:gd name="connsiteX9" fmla="*/ 1114623 w 2838422"/>
                  <a:gd name="connsiteY9" fmla="*/ 1165615 h 2238451"/>
                  <a:gd name="connsiteX10" fmla="*/ 1437118 w 2838422"/>
                  <a:gd name="connsiteY10" fmla="*/ 828138 h 2238451"/>
                  <a:gd name="connsiteX11" fmla="*/ 1437118 w 2838422"/>
                  <a:gd name="connsiteY11" fmla="*/ 1110678 h 2238451"/>
                  <a:gd name="connsiteX12" fmla="*/ 1719658 w 2838422"/>
                  <a:gd name="connsiteY12" fmla="*/ 1110678 h 2238451"/>
                  <a:gd name="connsiteX13" fmla="*/ 1719658 w 2838422"/>
                  <a:gd name="connsiteY13" fmla="*/ 828138 h 2238451"/>
                  <a:gd name="connsiteX14" fmla="*/ 1437118 w 2838422"/>
                  <a:gd name="connsiteY14" fmla="*/ 828138 h 2238451"/>
                  <a:gd name="connsiteX15" fmla="*/ 1114623 w 2838422"/>
                  <a:gd name="connsiteY15" fmla="*/ 828138 h 2238451"/>
                  <a:gd name="connsiteX16" fmla="*/ 1114623 w 2838422"/>
                  <a:gd name="connsiteY16" fmla="*/ 1110678 h 2238451"/>
                  <a:gd name="connsiteX17" fmla="*/ 1397163 w 2838422"/>
                  <a:gd name="connsiteY17" fmla="*/ 1110678 h 2238451"/>
                  <a:gd name="connsiteX18" fmla="*/ 1397163 w 2838422"/>
                  <a:gd name="connsiteY18" fmla="*/ 828138 h 2238451"/>
                  <a:gd name="connsiteX19" fmla="*/ 1114623 w 2838422"/>
                  <a:gd name="connsiteY19" fmla="*/ 828138 h 2238451"/>
                  <a:gd name="connsiteX20" fmla="*/ 1411515 w 2838422"/>
                  <a:gd name="connsiteY20" fmla="*/ 15387 h 2238451"/>
                  <a:gd name="connsiteX21" fmla="*/ 1451430 w 2838422"/>
                  <a:gd name="connsiteY21" fmla="*/ 80665 h 2238451"/>
                  <a:gd name="connsiteX22" fmla="*/ 1427857 w 2838422"/>
                  <a:gd name="connsiteY22" fmla="*/ 0 h 2238451"/>
                  <a:gd name="connsiteX23" fmla="*/ 1560949 w 2838422"/>
                  <a:gd name="connsiteY23" fmla="*/ 104166 h 2238451"/>
                  <a:gd name="connsiteX24" fmla="*/ 1854298 w 2838422"/>
                  <a:gd name="connsiteY24" fmla="*/ 315320 h 2238451"/>
                  <a:gd name="connsiteX25" fmla="*/ 1919487 w 2838422"/>
                  <a:gd name="connsiteY25" fmla="*/ 286978 h 2238451"/>
                  <a:gd name="connsiteX26" fmla="*/ 2047030 w 2838422"/>
                  <a:gd name="connsiteY26" fmla="*/ 163685 h 2238451"/>
                  <a:gd name="connsiteX27" fmla="*/ 2174571 w 2838422"/>
                  <a:gd name="connsiteY27" fmla="*/ 163685 h 2238451"/>
                  <a:gd name="connsiteX28" fmla="*/ 2270936 w 2838422"/>
                  <a:gd name="connsiteY28" fmla="*/ 260050 h 2238451"/>
                  <a:gd name="connsiteX29" fmla="*/ 2269520 w 2838422"/>
                  <a:gd name="connsiteY29" fmla="*/ 522223 h 2238451"/>
                  <a:gd name="connsiteX30" fmla="*/ 2348879 w 2838422"/>
                  <a:gd name="connsiteY30" fmla="*/ 672439 h 2238451"/>
                  <a:gd name="connsiteX31" fmla="*/ 2752765 w 2838422"/>
                  <a:gd name="connsiteY31" fmla="*/ 960119 h 2238451"/>
                  <a:gd name="connsiteX32" fmla="*/ 2837793 w 2838422"/>
                  <a:gd name="connsiteY32" fmla="*/ 1074908 h 2238451"/>
                  <a:gd name="connsiteX33" fmla="*/ 2778273 w 2838422"/>
                  <a:gd name="connsiteY33" fmla="*/ 1202450 h 2238451"/>
                  <a:gd name="connsiteX34" fmla="*/ 2596881 w 2838422"/>
                  <a:gd name="connsiteY34" fmla="*/ 1202450 h 2238451"/>
                  <a:gd name="connsiteX35" fmla="*/ 2354550 w 2838422"/>
                  <a:gd name="connsiteY35" fmla="*/ 1030977 h 2238451"/>
                  <a:gd name="connsiteX36" fmla="*/ 2283692 w 2838422"/>
                  <a:gd name="connsiteY36" fmla="*/ 992714 h 2238451"/>
                  <a:gd name="connsiteX37" fmla="*/ 2270936 w 2838422"/>
                  <a:gd name="connsiteY37" fmla="*/ 1070655 h 2238451"/>
                  <a:gd name="connsiteX38" fmla="*/ 2270936 w 2838422"/>
                  <a:gd name="connsiteY38" fmla="*/ 1583662 h 2238451"/>
                  <a:gd name="connsiteX39" fmla="*/ 2270936 w 2838422"/>
                  <a:gd name="connsiteY39" fmla="*/ 2100918 h 2238451"/>
                  <a:gd name="connsiteX40" fmla="*/ 2140560 w 2838422"/>
                  <a:gd name="connsiteY40" fmla="*/ 2236964 h 2238451"/>
                  <a:gd name="connsiteX41" fmla="*/ 1743761 w 2838422"/>
                  <a:gd name="connsiteY41" fmla="*/ 2238381 h 2238451"/>
                  <a:gd name="connsiteX42" fmla="*/ 1674320 w 2838422"/>
                  <a:gd name="connsiteY42" fmla="*/ 2167523 h 2238451"/>
                  <a:gd name="connsiteX43" fmla="*/ 1675739 w 2838422"/>
                  <a:gd name="connsiteY43" fmla="*/ 1813238 h 2238451"/>
                  <a:gd name="connsiteX44" fmla="*/ 1590709 w 2838422"/>
                  <a:gd name="connsiteY44" fmla="*/ 1723957 h 2238451"/>
                  <a:gd name="connsiteX45" fmla="*/ 1250596 w 2838422"/>
                  <a:gd name="connsiteY45" fmla="*/ 1723957 h 2238451"/>
                  <a:gd name="connsiteX46" fmla="*/ 1165569 w 2838422"/>
                  <a:gd name="connsiteY46" fmla="*/ 1813238 h 2238451"/>
                  <a:gd name="connsiteX47" fmla="*/ 1166985 w 2838422"/>
                  <a:gd name="connsiteY47" fmla="*/ 2167523 h 2238451"/>
                  <a:gd name="connsiteX48" fmla="*/ 1096128 w 2838422"/>
                  <a:gd name="connsiteY48" fmla="*/ 2236964 h 2238451"/>
                  <a:gd name="connsiteX49" fmla="*/ 706414 w 2838422"/>
                  <a:gd name="connsiteY49" fmla="*/ 2235548 h 2238451"/>
                  <a:gd name="connsiteX50" fmla="*/ 570368 w 2838422"/>
                  <a:gd name="connsiteY50" fmla="*/ 2098082 h 2238451"/>
                  <a:gd name="connsiteX51" fmla="*/ 568952 w 2838422"/>
                  <a:gd name="connsiteY51" fmla="*/ 1056486 h 2238451"/>
                  <a:gd name="connsiteX52" fmla="*/ 554779 w 2838422"/>
                  <a:gd name="connsiteY52" fmla="*/ 992714 h 2238451"/>
                  <a:gd name="connsiteX53" fmla="*/ 500928 w 2838422"/>
                  <a:gd name="connsiteY53" fmla="*/ 1021055 h 2238451"/>
                  <a:gd name="connsiteX54" fmla="*/ 265682 w 2838422"/>
                  <a:gd name="connsiteY54" fmla="*/ 1191112 h 2238451"/>
                  <a:gd name="connsiteX55" fmla="*/ 139558 w 2838422"/>
                  <a:gd name="connsiteY55" fmla="*/ 1229376 h 2238451"/>
                  <a:gd name="connsiteX56" fmla="*/ 6345 w 2838422"/>
                  <a:gd name="connsiteY56" fmla="*/ 1130176 h 2238451"/>
                  <a:gd name="connsiteX57" fmla="*/ 61615 w 2838422"/>
                  <a:gd name="connsiteY57" fmla="*/ 981375 h 2238451"/>
                  <a:gd name="connsiteX58" fmla="*/ 509430 w 2838422"/>
                  <a:gd name="connsiteY58" fmla="*/ 658269 h 2238451"/>
                  <a:gd name="connsiteX59" fmla="*/ 1280356 w 2838422"/>
                  <a:gd name="connsiteY59" fmla="*/ 104166 h 2238451"/>
                  <a:gd name="connsiteX60" fmla="*/ 1321301 w 2838422"/>
                  <a:gd name="connsiteY60" fmla="*/ 76731 h 2238451"/>
                  <a:gd name="connsiteX61" fmla="*/ 1411515 w 2838422"/>
                  <a:gd name="connsiteY61" fmla="*/ 15387 h 2238451"/>
                  <a:gd name="connsiteX0" fmla="*/ 1437118 w 2838422"/>
                  <a:gd name="connsiteY0" fmla="*/ 1165615 h 2238451"/>
                  <a:gd name="connsiteX1" fmla="*/ 1437118 w 2838422"/>
                  <a:gd name="connsiteY1" fmla="*/ 1448156 h 2238451"/>
                  <a:gd name="connsiteX2" fmla="*/ 1719658 w 2838422"/>
                  <a:gd name="connsiteY2" fmla="*/ 1448156 h 2238451"/>
                  <a:gd name="connsiteX3" fmla="*/ 1719658 w 2838422"/>
                  <a:gd name="connsiteY3" fmla="*/ 1165615 h 2238451"/>
                  <a:gd name="connsiteX4" fmla="*/ 1437118 w 2838422"/>
                  <a:gd name="connsiteY4" fmla="*/ 1165615 h 2238451"/>
                  <a:gd name="connsiteX5" fmla="*/ 1114623 w 2838422"/>
                  <a:gd name="connsiteY5" fmla="*/ 1165615 h 2238451"/>
                  <a:gd name="connsiteX6" fmla="*/ 1114623 w 2838422"/>
                  <a:gd name="connsiteY6" fmla="*/ 1448156 h 2238451"/>
                  <a:gd name="connsiteX7" fmla="*/ 1397163 w 2838422"/>
                  <a:gd name="connsiteY7" fmla="*/ 1448156 h 2238451"/>
                  <a:gd name="connsiteX8" fmla="*/ 1397163 w 2838422"/>
                  <a:gd name="connsiteY8" fmla="*/ 1165615 h 2238451"/>
                  <a:gd name="connsiteX9" fmla="*/ 1114623 w 2838422"/>
                  <a:gd name="connsiteY9" fmla="*/ 1165615 h 2238451"/>
                  <a:gd name="connsiteX10" fmla="*/ 1437118 w 2838422"/>
                  <a:gd name="connsiteY10" fmla="*/ 828138 h 2238451"/>
                  <a:gd name="connsiteX11" fmla="*/ 1437118 w 2838422"/>
                  <a:gd name="connsiteY11" fmla="*/ 1110678 h 2238451"/>
                  <a:gd name="connsiteX12" fmla="*/ 1719658 w 2838422"/>
                  <a:gd name="connsiteY12" fmla="*/ 1110678 h 2238451"/>
                  <a:gd name="connsiteX13" fmla="*/ 1719658 w 2838422"/>
                  <a:gd name="connsiteY13" fmla="*/ 828138 h 2238451"/>
                  <a:gd name="connsiteX14" fmla="*/ 1437118 w 2838422"/>
                  <a:gd name="connsiteY14" fmla="*/ 828138 h 2238451"/>
                  <a:gd name="connsiteX15" fmla="*/ 1114623 w 2838422"/>
                  <a:gd name="connsiteY15" fmla="*/ 828138 h 2238451"/>
                  <a:gd name="connsiteX16" fmla="*/ 1114623 w 2838422"/>
                  <a:gd name="connsiteY16" fmla="*/ 1110678 h 2238451"/>
                  <a:gd name="connsiteX17" fmla="*/ 1397163 w 2838422"/>
                  <a:gd name="connsiteY17" fmla="*/ 1110678 h 2238451"/>
                  <a:gd name="connsiteX18" fmla="*/ 1397163 w 2838422"/>
                  <a:gd name="connsiteY18" fmla="*/ 828138 h 2238451"/>
                  <a:gd name="connsiteX19" fmla="*/ 1114623 w 2838422"/>
                  <a:gd name="connsiteY19" fmla="*/ 828138 h 2238451"/>
                  <a:gd name="connsiteX20" fmla="*/ 1321301 w 2838422"/>
                  <a:gd name="connsiteY20" fmla="*/ 76731 h 2238451"/>
                  <a:gd name="connsiteX21" fmla="*/ 1451430 w 2838422"/>
                  <a:gd name="connsiteY21" fmla="*/ 80665 h 2238451"/>
                  <a:gd name="connsiteX22" fmla="*/ 1427857 w 2838422"/>
                  <a:gd name="connsiteY22" fmla="*/ 0 h 2238451"/>
                  <a:gd name="connsiteX23" fmla="*/ 1560949 w 2838422"/>
                  <a:gd name="connsiteY23" fmla="*/ 104166 h 2238451"/>
                  <a:gd name="connsiteX24" fmla="*/ 1854298 w 2838422"/>
                  <a:gd name="connsiteY24" fmla="*/ 315320 h 2238451"/>
                  <a:gd name="connsiteX25" fmla="*/ 1919487 w 2838422"/>
                  <a:gd name="connsiteY25" fmla="*/ 286978 h 2238451"/>
                  <a:gd name="connsiteX26" fmla="*/ 2047030 w 2838422"/>
                  <a:gd name="connsiteY26" fmla="*/ 163685 h 2238451"/>
                  <a:gd name="connsiteX27" fmla="*/ 2174571 w 2838422"/>
                  <a:gd name="connsiteY27" fmla="*/ 163685 h 2238451"/>
                  <a:gd name="connsiteX28" fmla="*/ 2270936 w 2838422"/>
                  <a:gd name="connsiteY28" fmla="*/ 260050 h 2238451"/>
                  <a:gd name="connsiteX29" fmla="*/ 2269520 w 2838422"/>
                  <a:gd name="connsiteY29" fmla="*/ 522223 h 2238451"/>
                  <a:gd name="connsiteX30" fmla="*/ 2348879 w 2838422"/>
                  <a:gd name="connsiteY30" fmla="*/ 672439 h 2238451"/>
                  <a:gd name="connsiteX31" fmla="*/ 2752765 w 2838422"/>
                  <a:gd name="connsiteY31" fmla="*/ 960119 h 2238451"/>
                  <a:gd name="connsiteX32" fmla="*/ 2837793 w 2838422"/>
                  <a:gd name="connsiteY32" fmla="*/ 1074908 h 2238451"/>
                  <a:gd name="connsiteX33" fmla="*/ 2778273 w 2838422"/>
                  <a:gd name="connsiteY33" fmla="*/ 1202450 h 2238451"/>
                  <a:gd name="connsiteX34" fmla="*/ 2596881 w 2838422"/>
                  <a:gd name="connsiteY34" fmla="*/ 1202450 h 2238451"/>
                  <a:gd name="connsiteX35" fmla="*/ 2354550 w 2838422"/>
                  <a:gd name="connsiteY35" fmla="*/ 1030977 h 2238451"/>
                  <a:gd name="connsiteX36" fmla="*/ 2283692 w 2838422"/>
                  <a:gd name="connsiteY36" fmla="*/ 992714 h 2238451"/>
                  <a:gd name="connsiteX37" fmla="*/ 2270936 w 2838422"/>
                  <a:gd name="connsiteY37" fmla="*/ 1070655 h 2238451"/>
                  <a:gd name="connsiteX38" fmla="*/ 2270936 w 2838422"/>
                  <a:gd name="connsiteY38" fmla="*/ 1583662 h 2238451"/>
                  <a:gd name="connsiteX39" fmla="*/ 2270936 w 2838422"/>
                  <a:gd name="connsiteY39" fmla="*/ 2100918 h 2238451"/>
                  <a:gd name="connsiteX40" fmla="*/ 2140560 w 2838422"/>
                  <a:gd name="connsiteY40" fmla="*/ 2236964 h 2238451"/>
                  <a:gd name="connsiteX41" fmla="*/ 1743761 w 2838422"/>
                  <a:gd name="connsiteY41" fmla="*/ 2238381 h 2238451"/>
                  <a:gd name="connsiteX42" fmla="*/ 1674320 w 2838422"/>
                  <a:gd name="connsiteY42" fmla="*/ 2167523 h 2238451"/>
                  <a:gd name="connsiteX43" fmla="*/ 1675739 w 2838422"/>
                  <a:gd name="connsiteY43" fmla="*/ 1813238 h 2238451"/>
                  <a:gd name="connsiteX44" fmla="*/ 1590709 w 2838422"/>
                  <a:gd name="connsiteY44" fmla="*/ 1723957 h 2238451"/>
                  <a:gd name="connsiteX45" fmla="*/ 1250596 w 2838422"/>
                  <a:gd name="connsiteY45" fmla="*/ 1723957 h 2238451"/>
                  <a:gd name="connsiteX46" fmla="*/ 1165569 w 2838422"/>
                  <a:gd name="connsiteY46" fmla="*/ 1813238 h 2238451"/>
                  <a:gd name="connsiteX47" fmla="*/ 1166985 w 2838422"/>
                  <a:gd name="connsiteY47" fmla="*/ 2167523 h 2238451"/>
                  <a:gd name="connsiteX48" fmla="*/ 1096128 w 2838422"/>
                  <a:gd name="connsiteY48" fmla="*/ 2236964 h 2238451"/>
                  <a:gd name="connsiteX49" fmla="*/ 706414 w 2838422"/>
                  <a:gd name="connsiteY49" fmla="*/ 2235548 h 2238451"/>
                  <a:gd name="connsiteX50" fmla="*/ 570368 w 2838422"/>
                  <a:gd name="connsiteY50" fmla="*/ 2098082 h 2238451"/>
                  <a:gd name="connsiteX51" fmla="*/ 568952 w 2838422"/>
                  <a:gd name="connsiteY51" fmla="*/ 1056486 h 2238451"/>
                  <a:gd name="connsiteX52" fmla="*/ 554779 w 2838422"/>
                  <a:gd name="connsiteY52" fmla="*/ 992714 h 2238451"/>
                  <a:gd name="connsiteX53" fmla="*/ 500928 w 2838422"/>
                  <a:gd name="connsiteY53" fmla="*/ 1021055 h 2238451"/>
                  <a:gd name="connsiteX54" fmla="*/ 265682 w 2838422"/>
                  <a:gd name="connsiteY54" fmla="*/ 1191112 h 2238451"/>
                  <a:gd name="connsiteX55" fmla="*/ 139558 w 2838422"/>
                  <a:gd name="connsiteY55" fmla="*/ 1229376 h 2238451"/>
                  <a:gd name="connsiteX56" fmla="*/ 6345 w 2838422"/>
                  <a:gd name="connsiteY56" fmla="*/ 1130176 h 2238451"/>
                  <a:gd name="connsiteX57" fmla="*/ 61615 w 2838422"/>
                  <a:gd name="connsiteY57" fmla="*/ 981375 h 2238451"/>
                  <a:gd name="connsiteX58" fmla="*/ 509430 w 2838422"/>
                  <a:gd name="connsiteY58" fmla="*/ 658269 h 2238451"/>
                  <a:gd name="connsiteX59" fmla="*/ 1280356 w 2838422"/>
                  <a:gd name="connsiteY59" fmla="*/ 104166 h 2238451"/>
                  <a:gd name="connsiteX60" fmla="*/ 1321301 w 2838422"/>
                  <a:gd name="connsiteY60" fmla="*/ 76731 h 2238451"/>
                  <a:gd name="connsiteX0" fmla="*/ 1437118 w 2838422"/>
                  <a:gd name="connsiteY0" fmla="*/ 1165615 h 2238451"/>
                  <a:gd name="connsiteX1" fmla="*/ 1437118 w 2838422"/>
                  <a:gd name="connsiteY1" fmla="*/ 1448156 h 2238451"/>
                  <a:gd name="connsiteX2" fmla="*/ 1719658 w 2838422"/>
                  <a:gd name="connsiteY2" fmla="*/ 1448156 h 2238451"/>
                  <a:gd name="connsiteX3" fmla="*/ 1719658 w 2838422"/>
                  <a:gd name="connsiteY3" fmla="*/ 1165615 h 2238451"/>
                  <a:gd name="connsiteX4" fmla="*/ 1437118 w 2838422"/>
                  <a:gd name="connsiteY4" fmla="*/ 1165615 h 2238451"/>
                  <a:gd name="connsiteX5" fmla="*/ 1114623 w 2838422"/>
                  <a:gd name="connsiteY5" fmla="*/ 1165615 h 2238451"/>
                  <a:gd name="connsiteX6" fmla="*/ 1114623 w 2838422"/>
                  <a:gd name="connsiteY6" fmla="*/ 1448156 h 2238451"/>
                  <a:gd name="connsiteX7" fmla="*/ 1397163 w 2838422"/>
                  <a:gd name="connsiteY7" fmla="*/ 1448156 h 2238451"/>
                  <a:gd name="connsiteX8" fmla="*/ 1397163 w 2838422"/>
                  <a:gd name="connsiteY8" fmla="*/ 1165615 h 2238451"/>
                  <a:gd name="connsiteX9" fmla="*/ 1114623 w 2838422"/>
                  <a:gd name="connsiteY9" fmla="*/ 1165615 h 2238451"/>
                  <a:gd name="connsiteX10" fmla="*/ 1437118 w 2838422"/>
                  <a:gd name="connsiteY10" fmla="*/ 828138 h 2238451"/>
                  <a:gd name="connsiteX11" fmla="*/ 1437118 w 2838422"/>
                  <a:gd name="connsiteY11" fmla="*/ 1110678 h 2238451"/>
                  <a:gd name="connsiteX12" fmla="*/ 1719658 w 2838422"/>
                  <a:gd name="connsiteY12" fmla="*/ 1110678 h 2238451"/>
                  <a:gd name="connsiteX13" fmla="*/ 1719658 w 2838422"/>
                  <a:gd name="connsiteY13" fmla="*/ 828138 h 2238451"/>
                  <a:gd name="connsiteX14" fmla="*/ 1437118 w 2838422"/>
                  <a:gd name="connsiteY14" fmla="*/ 828138 h 2238451"/>
                  <a:gd name="connsiteX15" fmla="*/ 1114623 w 2838422"/>
                  <a:gd name="connsiteY15" fmla="*/ 828138 h 2238451"/>
                  <a:gd name="connsiteX16" fmla="*/ 1114623 w 2838422"/>
                  <a:gd name="connsiteY16" fmla="*/ 1110678 h 2238451"/>
                  <a:gd name="connsiteX17" fmla="*/ 1397163 w 2838422"/>
                  <a:gd name="connsiteY17" fmla="*/ 1110678 h 2238451"/>
                  <a:gd name="connsiteX18" fmla="*/ 1397163 w 2838422"/>
                  <a:gd name="connsiteY18" fmla="*/ 828138 h 2238451"/>
                  <a:gd name="connsiteX19" fmla="*/ 1114623 w 2838422"/>
                  <a:gd name="connsiteY19" fmla="*/ 828138 h 2238451"/>
                  <a:gd name="connsiteX20" fmla="*/ 1321301 w 2838422"/>
                  <a:gd name="connsiteY20" fmla="*/ 76731 h 2238451"/>
                  <a:gd name="connsiteX21" fmla="*/ 1392527 w 2838422"/>
                  <a:gd name="connsiteY21" fmla="*/ 35787 h 2238451"/>
                  <a:gd name="connsiteX22" fmla="*/ 1427857 w 2838422"/>
                  <a:gd name="connsiteY22" fmla="*/ 0 h 2238451"/>
                  <a:gd name="connsiteX23" fmla="*/ 1560949 w 2838422"/>
                  <a:gd name="connsiteY23" fmla="*/ 104166 h 2238451"/>
                  <a:gd name="connsiteX24" fmla="*/ 1854298 w 2838422"/>
                  <a:gd name="connsiteY24" fmla="*/ 315320 h 2238451"/>
                  <a:gd name="connsiteX25" fmla="*/ 1919487 w 2838422"/>
                  <a:gd name="connsiteY25" fmla="*/ 286978 h 2238451"/>
                  <a:gd name="connsiteX26" fmla="*/ 2047030 w 2838422"/>
                  <a:gd name="connsiteY26" fmla="*/ 163685 h 2238451"/>
                  <a:gd name="connsiteX27" fmla="*/ 2174571 w 2838422"/>
                  <a:gd name="connsiteY27" fmla="*/ 163685 h 2238451"/>
                  <a:gd name="connsiteX28" fmla="*/ 2270936 w 2838422"/>
                  <a:gd name="connsiteY28" fmla="*/ 260050 h 2238451"/>
                  <a:gd name="connsiteX29" fmla="*/ 2269520 w 2838422"/>
                  <a:gd name="connsiteY29" fmla="*/ 522223 h 2238451"/>
                  <a:gd name="connsiteX30" fmla="*/ 2348879 w 2838422"/>
                  <a:gd name="connsiteY30" fmla="*/ 672439 h 2238451"/>
                  <a:gd name="connsiteX31" fmla="*/ 2752765 w 2838422"/>
                  <a:gd name="connsiteY31" fmla="*/ 960119 h 2238451"/>
                  <a:gd name="connsiteX32" fmla="*/ 2837793 w 2838422"/>
                  <a:gd name="connsiteY32" fmla="*/ 1074908 h 2238451"/>
                  <a:gd name="connsiteX33" fmla="*/ 2778273 w 2838422"/>
                  <a:gd name="connsiteY33" fmla="*/ 1202450 h 2238451"/>
                  <a:gd name="connsiteX34" fmla="*/ 2596881 w 2838422"/>
                  <a:gd name="connsiteY34" fmla="*/ 1202450 h 2238451"/>
                  <a:gd name="connsiteX35" fmla="*/ 2354550 w 2838422"/>
                  <a:gd name="connsiteY35" fmla="*/ 1030977 h 2238451"/>
                  <a:gd name="connsiteX36" fmla="*/ 2283692 w 2838422"/>
                  <a:gd name="connsiteY36" fmla="*/ 992714 h 2238451"/>
                  <a:gd name="connsiteX37" fmla="*/ 2270936 w 2838422"/>
                  <a:gd name="connsiteY37" fmla="*/ 1070655 h 2238451"/>
                  <a:gd name="connsiteX38" fmla="*/ 2270936 w 2838422"/>
                  <a:gd name="connsiteY38" fmla="*/ 1583662 h 2238451"/>
                  <a:gd name="connsiteX39" fmla="*/ 2270936 w 2838422"/>
                  <a:gd name="connsiteY39" fmla="*/ 2100918 h 2238451"/>
                  <a:gd name="connsiteX40" fmla="*/ 2140560 w 2838422"/>
                  <a:gd name="connsiteY40" fmla="*/ 2236964 h 2238451"/>
                  <a:gd name="connsiteX41" fmla="*/ 1743761 w 2838422"/>
                  <a:gd name="connsiteY41" fmla="*/ 2238381 h 2238451"/>
                  <a:gd name="connsiteX42" fmla="*/ 1674320 w 2838422"/>
                  <a:gd name="connsiteY42" fmla="*/ 2167523 h 2238451"/>
                  <a:gd name="connsiteX43" fmla="*/ 1675739 w 2838422"/>
                  <a:gd name="connsiteY43" fmla="*/ 1813238 h 2238451"/>
                  <a:gd name="connsiteX44" fmla="*/ 1590709 w 2838422"/>
                  <a:gd name="connsiteY44" fmla="*/ 1723957 h 2238451"/>
                  <a:gd name="connsiteX45" fmla="*/ 1250596 w 2838422"/>
                  <a:gd name="connsiteY45" fmla="*/ 1723957 h 2238451"/>
                  <a:gd name="connsiteX46" fmla="*/ 1165569 w 2838422"/>
                  <a:gd name="connsiteY46" fmla="*/ 1813238 h 2238451"/>
                  <a:gd name="connsiteX47" fmla="*/ 1166985 w 2838422"/>
                  <a:gd name="connsiteY47" fmla="*/ 2167523 h 2238451"/>
                  <a:gd name="connsiteX48" fmla="*/ 1096128 w 2838422"/>
                  <a:gd name="connsiteY48" fmla="*/ 2236964 h 2238451"/>
                  <a:gd name="connsiteX49" fmla="*/ 706414 w 2838422"/>
                  <a:gd name="connsiteY49" fmla="*/ 2235548 h 2238451"/>
                  <a:gd name="connsiteX50" fmla="*/ 570368 w 2838422"/>
                  <a:gd name="connsiteY50" fmla="*/ 2098082 h 2238451"/>
                  <a:gd name="connsiteX51" fmla="*/ 568952 w 2838422"/>
                  <a:gd name="connsiteY51" fmla="*/ 1056486 h 2238451"/>
                  <a:gd name="connsiteX52" fmla="*/ 554779 w 2838422"/>
                  <a:gd name="connsiteY52" fmla="*/ 992714 h 2238451"/>
                  <a:gd name="connsiteX53" fmla="*/ 500928 w 2838422"/>
                  <a:gd name="connsiteY53" fmla="*/ 1021055 h 2238451"/>
                  <a:gd name="connsiteX54" fmla="*/ 265682 w 2838422"/>
                  <a:gd name="connsiteY54" fmla="*/ 1191112 h 2238451"/>
                  <a:gd name="connsiteX55" fmla="*/ 139558 w 2838422"/>
                  <a:gd name="connsiteY55" fmla="*/ 1229376 h 2238451"/>
                  <a:gd name="connsiteX56" fmla="*/ 6345 w 2838422"/>
                  <a:gd name="connsiteY56" fmla="*/ 1130176 h 2238451"/>
                  <a:gd name="connsiteX57" fmla="*/ 61615 w 2838422"/>
                  <a:gd name="connsiteY57" fmla="*/ 981375 h 2238451"/>
                  <a:gd name="connsiteX58" fmla="*/ 509430 w 2838422"/>
                  <a:gd name="connsiteY58" fmla="*/ 658269 h 2238451"/>
                  <a:gd name="connsiteX59" fmla="*/ 1280356 w 2838422"/>
                  <a:gd name="connsiteY59" fmla="*/ 104166 h 2238451"/>
                  <a:gd name="connsiteX60" fmla="*/ 1321301 w 2838422"/>
                  <a:gd name="connsiteY60" fmla="*/ 76731 h 2238451"/>
                  <a:gd name="connsiteX0" fmla="*/ 1437118 w 2838422"/>
                  <a:gd name="connsiteY0" fmla="*/ 1165615 h 2238451"/>
                  <a:gd name="connsiteX1" fmla="*/ 1437118 w 2838422"/>
                  <a:gd name="connsiteY1" fmla="*/ 1448156 h 2238451"/>
                  <a:gd name="connsiteX2" fmla="*/ 1719658 w 2838422"/>
                  <a:gd name="connsiteY2" fmla="*/ 1448156 h 2238451"/>
                  <a:gd name="connsiteX3" fmla="*/ 1719658 w 2838422"/>
                  <a:gd name="connsiteY3" fmla="*/ 1165615 h 2238451"/>
                  <a:gd name="connsiteX4" fmla="*/ 1437118 w 2838422"/>
                  <a:gd name="connsiteY4" fmla="*/ 1165615 h 2238451"/>
                  <a:gd name="connsiteX5" fmla="*/ 1114623 w 2838422"/>
                  <a:gd name="connsiteY5" fmla="*/ 1165615 h 2238451"/>
                  <a:gd name="connsiteX6" fmla="*/ 1114623 w 2838422"/>
                  <a:gd name="connsiteY6" fmla="*/ 1448156 h 2238451"/>
                  <a:gd name="connsiteX7" fmla="*/ 1397163 w 2838422"/>
                  <a:gd name="connsiteY7" fmla="*/ 1448156 h 2238451"/>
                  <a:gd name="connsiteX8" fmla="*/ 1397163 w 2838422"/>
                  <a:gd name="connsiteY8" fmla="*/ 1165615 h 2238451"/>
                  <a:gd name="connsiteX9" fmla="*/ 1114623 w 2838422"/>
                  <a:gd name="connsiteY9" fmla="*/ 1165615 h 2238451"/>
                  <a:gd name="connsiteX10" fmla="*/ 1437118 w 2838422"/>
                  <a:gd name="connsiteY10" fmla="*/ 828138 h 2238451"/>
                  <a:gd name="connsiteX11" fmla="*/ 1437118 w 2838422"/>
                  <a:gd name="connsiteY11" fmla="*/ 1110678 h 2238451"/>
                  <a:gd name="connsiteX12" fmla="*/ 1719658 w 2838422"/>
                  <a:gd name="connsiteY12" fmla="*/ 1110678 h 2238451"/>
                  <a:gd name="connsiteX13" fmla="*/ 1719658 w 2838422"/>
                  <a:gd name="connsiteY13" fmla="*/ 828138 h 2238451"/>
                  <a:gd name="connsiteX14" fmla="*/ 1437118 w 2838422"/>
                  <a:gd name="connsiteY14" fmla="*/ 828138 h 2238451"/>
                  <a:gd name="connsiteX15" fmla="*/ 1114623 w 2838422"/>
                  <a:gd name="connsiteY15" fmla="*/ 828138 h 2238451"/>
                  <a:gd name="connsiteX16" fmla="*/ 1114623 w 2838422"/>
                  <a:gd name="connsiteY16" fmla="*/ 1110678 h 2238451"/>
                  <a:gd name="connsiteX17" fmla="*/ 1397163 w 2838422"/>
                  <a:gd name="connsiteY17" fmla="*/ 1110678 h 2238451"/>
                  <a:gd name="connsiteX18" fmla="*/ 1397163 w 2838422"/>
                  <a:gd name="connsiteY18" fmla="*/ 828138 h 2238451"/>
                  <a:gd name="connsiteX19" fmla="*/ 1114623 w 2838422"/>
                  <a:gd name="connsiteY19" fmla="*/ 828138 h 2238451"/>
                  <a:gd name="connsiteX20" fmla="*/ 1321301 w 2838422"/>
                  <a:gd name="connsiteY20" fmla="*/ 76731 h 2238451"/>
                  <a:gd name="connsiteX21" fmla="*/ 1375698 w 2838422"/>
                  <a:gd name="connsiteY21" fmla="*/ 35787 h 2238451"/>
                  <a:gd name="connsiteX22" fmla="*/ 1427857 w 2838422"/>
                  <a:gd name="connsiteY22" fmla="*/ 0 h 2238451"/>
                  <a:gd name="connsiteX23" fmla="*/ 1560949 w 2838422"/>
                  <a:gd name="connsiteY23" fmla="*/ 104166 h 2238451"/>
                  <a:gd name="connsiteX24" fmla="*/ 1854298 w 2838422"/>
                  <a:gd name="connsiteY24" fmla="*/ 315320 h 2238451"/>
                  <a:gd name="connsiteX25" fmla="*/ 1919487 w 2838422"/>
                  <a:gd name="connsiteY25" fmla="*/ 286978 h 2238451"/>
                  <a:gd name="connsiteX26" fmla="*/ 2047030 w 2838422"/>
                  <a:gd name="connsiteY26" fmla="*/ 163685 h 2238451"/>
                  <a:gd name="connsiteX27" fmla="*/ 2174571 w 2838422"/>
                  <a:gd name="connsiteY27" fmla="*/ 163685 h 2238451"/>
                  <a:gd name="connsiteX28" fmla="*/ 2270936 w 2838422"/>
                  <a:gd name="connsiteY28" fmla="*/ 260050 h 2238451"/>
                  <a:gd name="connsiteX29" fmla="*/ 2269520 w 2838422"/>
                  <a:gd name="connsiteY29" fmla="*/ 522223 h 2238451"/>
                  <a:gd name="connsiteX30" fmla="*/ 2348879 w 2838422"/>
                  <a:gd name="connsiteY30" fmla="*/ 672439 h 2238451"/>
                  <a:gd name="connsiteX31" fmla="*/ 2752765 w 2838422"/>
                  <a:gd name="connsiteY31" fmla="*/ 960119 h 2238451"/>
                  <a:gd name="connsiteX32" fmla="*/ 2837793 w 2838422"/>
                  <a:gd name="connsiteY32" fmla="*/ 1074908 h 2238451"/>
                  <a:gd name="connsiteX33" fmla="*/ 2778273 w 2838422"/>
                  <a:gd name="connsiteY33" fmla="*/ 1202450 h 2238451"/>
                  <a:gd name="connsiteX34" fmla="*/ 2596881 w 2838422"/>
                  <a:gd name="connsiteY34" fmla="*/ 1202450 h 2238451"/>
                  <a:gd name="connsiteX35" fmla="*/ 2354550 w 2838422"/>
                  <a:gd name="connsiteY35" fmla="*/ 1030977 h 2238451"/>
                  <a:gd name="connsiteX36" fmla="*/ 2283692 w 2838422"/>
                  <a:gd name="connsiteY36" fmla="*/ 992714 h 2238451"/>
                  <a:gd name="connsiteX37" fmla="*/ 2270936 w 2838422"/>
                  <a:gd name="connsiteY37" fmla="*/ 1070655 h 2238451"/>
                  <a:gd name="connsiteX38" fmla="*/ 2270936 w 2838422"/>
                  <a:gd name="connsiteY38" fmla="*/ 1583662 h 2238451"/>
                  <a:gd name="connsiteX39" fmla="*/ 2270936 w 2838422"/>
                  <a:gd name="connsiteY39" fmla="*/ 2100918 h 2238451"/>
                  <a:gd name="connsiteX40" fmla="*/ 2140560 w 2838422"/>
                  <a:gd name="connsiteY40" fmla="*/ 2236964 h 2238451"/>
                  <a:gd name="connsiteX41" fmla="*/ 1743761 w 2838422"/>
                  <a:gd name="connsiteY41" fmla="*/ 2238381 h 2238451"/>
                  <a:gd name="connsiteX42" fmla="*/ 1674320 w 2838422"/>
                  <a:gd name="connsiteY42" fmla="*/ 2167523 h 2238451"/>
                  <a:gd name="connsiteX43" fmla="*/ 1675739 w 2838422"/>
                  <a:gd name="connsiteY43" fmla="*/ 1813238 h 2238451"/>
                  <a:gd name="connsiteX44" fmla="*/ 1590709 w 2838422"/>
                  <a:gd name="connsiteY44" fmla="*/ 1723957 h 2238451"/>
                  <a:gd name="connsiteX45" fmla="*/ 1250596 w 2838422"/>
                  <a:gd name="connsiteY45" fmla="*/ 1723957 h 2238451"/>
                  <a:gd name="connsiteX46" fmla="*/ 1165569 w 2838422"/>
                  <a:gd name="connsiteY46" fmla="*/ 1813238 h 2238451"/>
                  <a:gd name="connsiteX47" fmla="*/ 1166985 w 2838422"/>
                  <a:gd name="connsiteY47" fmla="*/ 2167523 h 2238451"/>
                  <a:gd name="connsiteX48" fmla="*/ 1096128 w 2838422"/>
                  <a:gd name="connsiteY48" fmla="*/ 2236964 h 2238451"/>
                  <a:gd name="connsiteX49" fmla="*/ 706414 w 2838422"/>
                  <a:gd name="connsiteY49" fmla="*/ 2235548 h 2238451"/>
                  <a:gd name="connsiteX50" fmla="*/ 570368 w 2838422"/>
                  <a:gd name="connsiteY50" fmla="*/ 2098082 h 2238451"/>
                  <a:gd name="connsiteX51" fmla="*/ 568952 w 2838422"/>
                  <a:gd name="connsiteY51" fmla="*/ 1056486 h 2238451"/>
                  <a:gd name="connsiteX52" fmla="*/ 554779 w 2838422"/>
                  <a:gd name="connsiteY52" fmla="*/ 992714 h 2238451"/>
                  <a:gd name="connsiteX53" fmla="*/ 500928 w 2838422"/>
                  <a:gd name="connsiteY53" fmla="*/ 1021055 h 2238451"/>
                  <a:gd name="connsiteX54" fmla="*/ 265682 w 2838422"/>
                  <a:gd name="connsiteY54" fmla="*/ 1191112 h 2238451"/>
                  <a:gd name="connsiteX55" fmla="*/ 139558 w 2838422"/>
                  <a:gd name="connsiteY55" fmla="*/ 1229376 h 2238451"/>
                  <a:gd name="connsiteX56" fmla="*/ 6345 w 2838422"/>
                  <a:gd name="connsiteY56" fmla="*/ 1130176 h 2238451"/>
                  <a:gd name="connsiteX57" fmla="*/ 61615 w 2838422"/>
                  <a:gd name="connsiteY57" fmla="*/ 981375 h 2238451"/>
                  <a:gd name="connsiteX58" fmla="*/ 509430 w 2838422"/>
                  <a:gd name="connsiteY58" fmla="*/ 658269 h 2238451"/>
                  <a:gd name="connsiteX59" fmla="*/ 1280356 w 2838422"/>
                  <a:gd name="connsiteY59" fmla="*/ 104166 h 2238451"/>
                  <a:gd name="connsiteX60" fmla="*/ 1321301 w 2838422"/>
                  <a:gd name="connsiteY60" fmla="*/ 76731 h 2238451"/>
                  <a:gd name="connsiteX0" fmla="*/ 1437118 w 2838422"/>
                  <a:gd name="connsiteY0" fmla="*/ 1165615 h 2238451"/>
                  <a:gd name="connsiteX1" fmla="*/ 1437118 w 2838422"/>
                  <a:gd name="connsiteY1" fmla="*/ 1448156 h 2238451"/>
                  <a:gd name="connsiteX2" fmla="*/ 1719658 w 2838422"/>
                  <a:gd name="connsiteY2" fmla="*/ 1448156 h 2238451"/>
                  <a:gd name="connsiteX3" fmla="*/ 1719658 w 2838422"/>
                  <a:gd name="connsiteY3" fmla="*/ 1165615 h 2238451"/>
                  <a:gd name="connsiteX4" fmla="*/ 1437118 w 2838422"/>
                  <a:gd name="connsiteY4" fmla="*/ 1165615 h 2238451"/>
                  <a:gd name="connsiteX5" fmla="*/ 1114623 w 2838422"/>
                  <a:gd name="connsiteY5" fmla="*/ 1165615 h 2238451"/>
                  <a:gd name="connsiteX6" fmla="*/ 1114623 w 2838422"/>
                  <a:gd name="connsiteY6" fmla="*/ 1448156 h 2238451"/>
                  <a:gd name="connsiteX7" fmla="*/ 1397163 w 2838422"/>
                  <a:gd name="connsiteY7" fmla="*/ 1448156 h 2238451"/>
                  <a:gd name="connsiteX8" fmla="*/ 1397163 w 2838422"/>
                  <a:gd name="connsiteY8" fmla="*/ 1165615 h 2238451"/>
                  <a:gd name="connsiteX9" fmla="*/ 1114623 w 2838422"/>
                  <a:gd name="connsiteY9" fmla="*/ 1165615 h 2238451"/>
                  <a:gd name="connsiteX10" fmla="*/ 1437118 w 2838422"/>
                  <a:gd name="connsiteY10" fmla="*/ 828138 h 2238451"/>
                  <a:gd name="connsiteX11" fmla="*/ 1437118 w 2838422"/>
                  <a:gd name="connsiteY11" fmla="*/ 1110678 h 2238451"/>
                  <a:gd name="connsiteX12" fmla="*/ 1719658 w 2838422"/>
                  <a:gd name="connsiteY12" fmla="*/ 1110678 h 2238451"/>
                  <a:gd name="connsiteX13" fmla="*/ 1719658 w 2838422"/>
                  <a:gd name="connsiteY13" fmla="*/ 828138 h 2238451"/>
                  <a:gd name="connsiteX14" fmla="*/ 1437118 w 2838422"/>
                  <a:gd name="connsiteY14" fmla="*/ 828138 h 2238451"/>
                  <a:gd name="connsiteX15" fmla="*/ 1114623 w 2838422"/>
                  <a:gd name="connsiteY15" fmla="*/ 828138 h 2238451"/>
                  <a:gd name="connsiteX16" fmla="*/ 1114623 w 2838422"/>
                  <a:gd name="connsiteY16" fmla="*/ 1110678 h 2238451"/>
                  <a:gd name="connsiteX17" fmla="*/ 1397163 w 2838422"/>
                  <a:gd name="connsiteY17" fmla="*/ 1110678 h 2238451"/>
                  <a:gd name="connsiteX18" fmla="*/ 1397163 w 2838422"/>
                  <a:gd name="connsiteY18" fmla="*/ 828138 h 2238451"/>
                  <a:gd name="connsiteX19" fmla="*/ 1114623 w 2838422"/>
                  <a:gd name="connsiteY19" fmla="*/ 828138 h 2238451"/>
                  <a:gd name="connsiteX20" fmla="*/ 1321301 w 2838422"/>
                  <a:gd name="connsiteY20" fmla="*/ 76731 h 2238451"/>
                  <a:gd name="connsiteX21" fmla="*/ 1375698 w 2838422"/>
                  <a:gd name="connsiteY21" fmla="*/ 35787 h 2238451"/>
                  <a:gd name="connsiteX22" fmla="*/ 1427857 w 2838422"/>
                  <a:gd name="connsiteY22" fmla="*/ 0 h 2238451"/>
                  <a:gd name="connsiteX23" fmla="*/ 1471192 w 2838422"/>
                  <a:gd name="connsiteY23" fmla="*/ 36848 h 2238451"/>
                  <a:gd name="connsiteX24" fmla="*/ 1854298 w 2838422"/>
                  <a:gd name="connsiteY24" fmla="*/ 315320 h 2238451"/>
                  <a:gd name="connsiteX25" fmla="*/ 1919487 w 2838422"/>
                  <a:gd name="connsiteY25" fmla="*/ 286978 h 2238451"/>
                  <a:gd name="connsiteX26" fmla="*/ 2047030 w 2838422"/>
                  <a:gd name="connsiteY26" fmla="*/ 163685 h 2238451"/>
                  <a:gd name="connsiteX27" fmla="*/ 2174571 w 2838422"/>
                  <a:gd name="connsiteY27" fmla="*/ 163685 h 2238451"/>
                  <a:gd name="connsiteX28" fmla="*/ 2270936 w 2838422"/>
                  <a:gd name="connsiteY28" fmla="*/ 260050 h 2238451"/>
                  <a:gd name="connsiteX29" fmla="*/ 2269520 w 2838422"/>
                  <a:gd name="connsiteY29" fmla="*/ 522223 h 2238451"/>
                  <a:gd name="connsiteX30" fmla="*/ 2348879 w 2838422"/>
                  <a:gd name="connsiteY30" fmla="*/ 672439 h 2238451"/>
                  <a:gd name="connsiteX31" fmla="*/ 2752765 w 2838422"/>
                  <a:gd name="connsiteY31" fmla="*/ 960119 h 2238451"/>
                  <a:gd name="connsiteX32" fmla="*/ 2837793 w 2838422"/>
                  <a:gd name="connsiteY32" fmla="*/ 1074908 h 2238451"/>
                  <a:gd name="connsiteX33" fmla="*/ 2778273 w 2838422"/>
                  <a:gd name="connsiteY33" fmla="*/ 1202450 h 2238451"/>
                  <a:gd name="connsiteX34" fmla="*/ 2596881 w 2838422"/>
                  <a:gd name="connsiteY34" fmla="*/ 1202450 h 2238451"/>
                  <a:gd name="connsiteX35" fmla="*/ 2354550 w 2838422"/>
                  <a:gd name="connsiteY35" fmla="*/ 1030977 h 2238451"/>
                  <a:gd name="connsiteX36" fmla="*/ 2283692 w 2838422"/>
                  <a:gd name="connsiteY36" fmla="*/ 992714 h 2238451"/>
                  <a:gd name="connsiteX37" fmla="*/ 2270936 w 2838422"/>
                  <a:gd name="connsiteY37" fmla="*/ 1070655 h 2238451"/>
                  <a:gd name="connsiteX38" fmla="*/ 2270936 w 2838422"/>
                  <a:gd name="connsiteY38" fmla="*/ 1583662 h 2238451"/>
                  <a:gd name="connsiteX39" fmla="*/ 2270936 w 2838422"/>
                  <a:gd name="connsiteY39" fmla="*/ 2100918 h 2238451"/>
                  <a:gd name="connsiteX40" fmla="*/ 2140560 w 2838422"/>
                  <a:gd name="connsiteY40" fmla="*/ 2236964 h 2238451"/>
                  <a:gd name="connsiteX41" fmla="*/ 1743761 w 2838422"/>
                  <a:gd name="connsiteY41" fmla="*/ 2238381 h 2238451"/>
                  <a:gd name="connsiteX42" fmla="*/ 1674320 w 2838422"/>
                  <a:gd name="connsiteY42" fmla="*/ 2167523 h 2238451"/>
                  <a:gd name="connsiteX43" fmla="*/ 1675739 w 2838422"/>
                  <a:gd name="connsiteY43" fmla="*/ 1813238 h 2238451"/>
                  <a:gd name="connsiteX44" fmla="*/ 1590709 w 2838422"/>
                  <a:gd name="connsiteY44" fmla="*/ 1723957 h 2238451"/>
                  <a:gd name="connsiteX45" fmla="*/ 1250596 w 2838422"/>
                  <a:gd name="connsiteY45" fmla="*/ 1723957 h 2238451"/>
                  <a:gd name="connsiteX46" fmla="*/ 1165569 w 2838422"/>
                  <a:gd name="connsiteY46" fmla="*/ 1813238 h 2238451"/>
                  <a:gd name="connsiteX47" fmla="*/ 1166985 w 2838422"/>
                  <a:gd name="connsiteY47" fmla="*/ 2167523 h 2238451"/>
                  <a:gd name="connsiteX48" fmla="*/ 1096128 w 2838422"/>
                  <a:gd name="connsiteY48" fmla="*/ 2236964 h 2238451"/>
                  <a:gd name="connsiteX49" fmla="*/ 706414 w 2838422"/>
                  <a:gd name="connsiteY49" fmla="*/ 2235548 h 2238451"/>
                  <a:gd name="connsiteX50" fmla="*/ 570368 w 2838422"/>
                  <a:gd name="connsiteY50" fmla="*/ 2098082 h 2238451"/>
                  <a:gd name="connsiteX51" fmla="*/ 568952 w 2838422"/>
                  <a:gd name="connsiteY51" fmla="*/ 1056486 h 2238451"/>
                  <a:gd name="connsiteX52" fmla="*/ 554779 w 2838422"/>
                  <a:gd name="connsiteY52" fmla="*/ 992714 h 2238451"/>
                  <a:gd name="connsiteX53" fmla="*/ 500928 w 2838422"/>
                  <a:gd name="connsiteY53" fmla="*/ 1021055 h 2238451"/>
                  <a:gd name="connsiteX54" fmla="*/ 265682 w 2838422"/>
                  <a:gd name="connsiteY54" fmla="*/ 1191112 h 2238451"/>
                  <a:gd name="connsiteX55" fmla="*/ 139558 w 2838422"/>
                  <a:gd name="connsiteY55" fmla="*/ 1229376 h 2238451"/>
                  <a:gd name="connsiteX56" fmla="*/ 6345 w 2838422"/>
                  <a:gd name="connsiteY56" fmla="*/ 1130176 h 2238451"/>
                  <a:gd name="connsiteX57" fmla="*/ 61615 w 2838422"/>
                  <a:gd name="connsiteY57" fmla="*/ 981375 h 2238451"/>
                  <a:gd name="connsiteX58" fmla="*/ 509430 w 2838422"/>
                  <a:gd name="connsiteY58" fmla="*/ 658269 h 2238451"/>
                  <a:gd name="connsiteX59" fmla="*/ 1280356 w 2838422"/>
                  <a:gd name="connsiteY59" fmla="*/ 104166 h 2238451"/>
                  <a:gd name="connsiteX60" fmla="*/ 1321301 w 2838422"/>
                  <a:gd name="connsiteY60" fmla="*/ 76731 h 2238451"/>
                  <a:gd name="connsiteX0" fmla="*/ 1437118 w 2838422"/>
                  <a:gd name="connsiteY0" fmla="*/ 1129828 h 2202664"/>
                  <a:gd name="connsiteX1" fmla="*/ 1437118 w 2838422"/>
                  <a:gd name="connsiteY1" fmla="*/ 1412369 h 2202664"/>
                  <a:gd name="connsiteX2" fmla="*/ 1719658 w 2838422"/>
                  <a:gd name="connsiteY2" fmla="*/ 1412369 h 2202664"/>
                  <a:gd name="connsiteX3" fmla="*/ 1719658 w 2838422"/>
                  <a:gd name="connsiteY3" fmla="*/ 1129828 h 2202664"/>
                  <a:gd name="connsiteX4" fmla="*/ 1437118 w 2838422"/>
                  <a:gd name="connsiteY4" fmla="*/ 1129828 h 2202664"/>
                  <a:gd name="connsiteX5" fmla="*/ 1114623 w 2838422"/>
                  <a:gd name="connsiteY5" fmla="*/ 1129828 h 2202664"/>
                  <a:gd name="connsiteX6" fmla="*/ 1114623 w 2838422"/>
                  <a:gd name="connsiteY6" fmla="*/ 1412369 h 2202664"/>
                  <a:gd name="connsiteX7" fmla="*/ 1397163 w 2838422"/>
                  <a:gd name="connsiteY7" fmla="*/ 1412369 h 2202664"/>
                  <a:gd name="connsiteX8" fmla="*/ 1397163 w 2838422"/>
                  <a:gd name="connsiteY8" fmla="*/ 1129828 h 2202664"/>
                  <a:gd name="connsiteX9" fmla="*/ 1114623 w 2838422"/>
                  <a:gd name="connsiteY9" fmla="*/ 1129828 h 2202664"/>
                  <a:gd name="connsiteX10" fmla="*/ 1437118 w 2838422"/>
                  <a:gd name="connsiteY10" fmla="*/ 792351 h 2202664"/>
                  <a:gd name="connsiteX11" fmla="*/ 1437118 w 2838422"/>
                  <a:gd name="connsiteY11" fmla="*/ 1074891 h 2202664"/>
                  <a:gd name="connsiteX12" fmla="*/ 1719658 w 2838422"/>
                  <a:gd name="connsiteY12" fmla="*/ 1074891 h 2202664"/>
                  <a:gd name="connsiteX13" fmla="*/ 1719658 w 2838422"/>
                  <a:gd name="connsiteY13" fmla="*/ 792351 h 2202664"/>
                  <a:gd name="connsiteX14" fmla="*/ 1437118 w 2838422"/>
                  <a:gd name="connsiteY14" fmla="*/ 792351 h 2202664"/>
                  <a:gd name="connsiteX15" fmla="*/ 1114623 w 2838422"/>
                  <a:gd name="connsiteY15" fmla="*/ 792351 h 2202664"/>
                  <a:gd name="connsiteX16" fmla="*/ 1114623 w 2838422"/>
                  <a:gd name="connsiteY16" fmla="*/ 1074891 h 2202664"/>
                  <a:gd name="connsiteX17" fmla="*/ 1397163 w 2838422"/>
                  <a:gd name="connsiteY17" fmla="*/ 1074891 h 2202664"/>
                  <a:gd name="connsiteX18" fmla="*/ 1397163 w 2838422"/>
                  <a:gd name="connsiteY18" fmla="*/ 792351 h 2202664"/>
                  <a:gd name="connsiteX19" fmla="*/ 1114623 w 2838422"/>
                  <a:gd name="connsiteY19" fmla="*/ 792351 h 2202664"/>
                  <a:gd name="connsiteX20" fmla="*/ 1321301 w 2838422"/>
                  <a:gd name="connsiteY20" fmla="*/ 40944 h 2202664"/>
                  <a:gd name="connsiteX21" fmla="*/ 1375698 w 2838422"/>
                  <a:gd name="connsiteY21" fmla="*/ 0 h 2202664"/>
                  <a:gd name="connsiteX22" fmla="*/ 1471192 w 2838422"/>
                  <a:gd name="connsiteY22" fmla="*/ 1061 h 2202664"/>
                  <a:gd name="connsiteX23" fmla="*/ 1854298 w 2838422"/>
                  <a:gd name="connsiteY23" fmla="*/ 279533 h 2202664"/>
                  <a:gd name="connsiteX24" fmla="*/ 1919487 w 2838422"/>
                  <a:gd name="connsiteY24" fmla="*/ 251191 h 2202664"/>
                  <a:gd name="connsiteX25" fmla="*/ 2047030 w 2838422"/>
                  <a:gd name="connsiteY25" fmla="*/ 127898 h 2202664"/>
                  <a:gd name="connsiteX26" fmla="*/ 2174571 w 2838422"/>
                  <a:gd name="connsiteY26" fmla="*/ 127898 h 2202664"/>
                  <a:gd name="connsiteX27" fmla="*/ 2270936 w 2838422"/>
                  <a:gd name="connsiteY27" fmla="*/ 224263 h 2202664"/>
                  <a:gd name="connsiteX28" fmla="*/ 2269520 w 2838422"/>
                  <a:gd name="connsiteY28" fmla="*/ 486436 h 2202664"/>
                  <a:gd name="connsiteX29" fmla="*/ 2348879 w 2838422"/>
                  <a:gd name="connsiteY29" fmla="*/ 636652 h 2202664"/>
                  <a:gd name="connsiteX30" fmla="*/ 2752765 w 2838422"/>
                  <a:gd name="connsiteY30" fmla="*/ 924332 h 2202664"/>
                  <a:gd name="connsiteX31" fmla="*/ 2837793 w 2838422"/>
                  <a:gd name="connsiteY31" fmla="*/ 1039121 h 2202664"/>
                  <a:gd name="connsiteX32" fmla="*/ 2778273 w 2838422"/>
                  <a:gd name="connsiteY32" fmla="*/ 1166663 h 2202664"/>
                  <a:gd name="connsiteX33" fmla="*/ 2596881 w 2838422"/>
                  <a:gd name="connsiteY33" fmla="*/ 1166663 h 2202664"/>
                  <a:gd name="connsiteX34" fmla="*/ 2354550 w 2838422"/>
                  <a:gd name="connsiteY34" fmla="*/ 995190 h 2202664"/>
                  <a:gd name="connsiteX35" fmla="*/ 2283692 w 2838422"/>
                  <a:gd name="connsiteY35" fmla="*/ 956927 h 2202664"/>
                  <a:gd name="connsiteX36" fmla="*/ 2270936 w 2838422"/>
                  <a:gd name="connsiteY36" fmla="*/ 1034868 h 2202664"/>
                  <a:gd name="connsiteX37" fmla="*/ 2270936 w 2838422"/>
                  <a:gd name="connsiteY37" fmla="*/ 1547875 h 2202664"/>
                  <a:gd name="connsiteX38" fmla="*/ 2270936 w 2838422"/>
                  <a:gd name="connsiteY38" fmla="*/ 2065131 h 2202664"/>
                  <a:gd name="connsiteX39" fmla="*/ 2140560 w 2838422"/>
                  <a:gd name="connsiteY39" fmla="*/ 2201177 h 2202664"/>
                  <a:gd name="connsiteX40" fmla="*/ 1743761 w 2838422"/>
                  <a:gd name="connsiteY40" fmla="*/ 2202594 h 2202664"/>
                  <a:gd name="connsiteX41" fmla="*/ 1674320 w 2838422"/>
                  <a:gd name="connsiteY41" fmla="*/ 2131736 h 2202664"/>
                  <a:gd name="connsiteX42" fmla="*/ 1675739 w 2838422"/>
                  <a:gd name="connsiteY42" fmla="*/ 1777451 h 2202664"/>
                  <a:gd name="connsiteX43" fmla="*/ 1590709 w 2838422"/>
                  <a:gd name="connsiteY43" fmla="*/ 1688170 h 2202664"/>
                  <a:gd name="connsiteX44" fmla="*/ 1250596 w 2838422"/>
                  <a:gd name="connsiteY44" fmla="*/ 1688170 h 2202664"/>
                  <a:gd name="connsiteX45" fmla="*/ 1165569 w 2838422"/>
                  <a:gd name="connsiteY45" fmla="*/ 1777451 h 2202664"/>
                  <a:gd name="connsiteX46" fmla="*/ 1166985 w 2838422"/>
                  <a:gd name="connsiteY46" fmla="*/ 2131736 h 2202664"/>
                  <a:gd name="connsiteX47" fmla="*/ 1096128 w 2838422"/>
                  <a:gd name="connsiteY47" fmla="*/ 2201177 h 2202664"/>
                  <a:gd name="connsiteX48" fmla="*/ 706414 w 2838422"/>
                  <a:gd name="connsiteY48" fmla="*/ 2199761 h 2202664"/>
                  <a:gd name="connsiteX49" fmla="*/ 570368 w 2838422"/>
                  <a:gd name="connsiteY49" fmla="*/ 2062295 h 2202664"/>
                  <a:gd name="connsiteX50" fmla="*/ 568952 w 2838422"/>
                  <a:gd name="connsiteY50" fmla="*/ 1020699 h 2202664"/>
                  <a:gd name="connsiteX51" fmla="*/ 554779 w 2838422"/>
                  <a:gd name="connsiteY51" fmla="*/ 956927 h 2202664"/>
                  <a:gd name="connsiteX52" fmla="*/ 500928 w 2838422"/>
                  <a:gd name="connsiteY52" fmla="*/ 985268 h 2202664"/>
                  <a:gd name="connsiteX53" fmla="*/ 265682 w 2838422"/>
                  <a:gd name="connsiteY53" fmla="*/ 1155325 h 2202664"/>
                  <a:gd name="connsiteX54" fmla="*/ 139558 w 2838422"/>
                  <a:gd name="connsiteY54" fmla="*/ 1193589 h 2202664"/>
                  <a:gd name="connsiteX55" fmla="*/ 6345 w 2838422"/>
                  <a:gd name="connsiteY55" fmla="*/ 1094389 h 2202664"/>
                  <a:gd name="connsiteX56" fmla="*/ 61615 w 2838422"/>
                  <a:gd name="connsiteY56" fmla="*/ 945588 h 2202664"/>
                  <a:gd name="connsiteX57" fmla="*/ 509430 w 2838422"/>
                  <a:gd name="connsiteY57" fmla="*/ 622482 h 2202664"/>
                  <a:gd name="connsiteX58" fmla="*/ 1280356 w 2838422"/>
                  <a:gd name="connsiteY58" fmla="*/ 68379 h 2202664"/>
                  <a:gd name="connsiteX59" fmla="*/ 1321301 w 2838422"/>
                  <a:gd name="connsiteY59" fmla="*/ 40944 h 2202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2838422" h="2202664">
                    <a:moveTo>
                      <a:pt x="1437118" y="1129828"/>
                    </a:moveTo>
                    <a:lnTo>
                      <a:pt x="1437118" y="1412369"/>
                    </a:lnTo>
                    <a:lnTo>
                      <a:pt x="1719658" y="1412369"/>
                    </a:lnTo>
                    <a:lnTo>
                      <a:pt x="1719658" y="1129828"/>
                    </a:lnTo>
                    <a:lnTo>
                      <a:pt x="1437118" y="1129828"/>
                    </a:lnTo>
                    <a:close/>
                    <a:moveTo>
                      <a:pt x="1114623" y="1129828"/>
                    </a:moveTo>
                    <a:lnTo>
                      <a:pt x="1114623" y="1412369"/>
                    </a:lnTo>
                    <a:lnTo>
                      <a:pt x="1397163" y="1412369"/>
                    </a:lnTo>
                    <a:lnTo>
                      <a:pt x="1397163" y="1129828"/>
                    </a:lnTo>
                    <a:lnTo>
                      <a:pt x="1114623" y="1129828"/>
                    </a:lnTo>
                    <a:close/>
                    <a:moveTo>
                      <a:pt x="1437118" y="792351"/>
                    </a:moveTo>
                    <a:lnTo>
                      <a:pt x="1437118" y="1074891"/>
                    </a:lnTo>
                    <a:lnTo>
                      <a:pt x="1719658" y="1074891"/>
                    </a:lnTo>
                    <a:lnTo>
                      <a:pt x="1719658" y="792351"/>
                    </a:lnTo>
                    <a:lnTo>
                      <a:pt x="1437118" y="792351"/>
                    </a:lnTo>
                    <a:close/>
                    <a:moveTo>
                      <a:pt x="1114623" y="792351"/>
                    </a:moveTo>
                    <a:lnTo>
                      <a:pt x="1114623" y="1074891"/>
                    </a:lnTo>
                    <a:lnTo>
                      <a:pt x="1397163" y="1074891"/>
                    </a:lnTo>
                    <a:lnTo>
                      <a:pt x="1397163" y="792351"/>
                    </a:lnTo>
                    <a:lnTo>
                      <a:pt x="1114623" y="792351"/>
                    </a:lnTo>
                    <a:close/>
                    <a:moveTo>
                      <a:pt x="1321301" y="40944"/>
                    </a:moveTo>
                    <a:lnTo>
                      <a:pt x="1375698" y="0"/>
                    </a:lnTo>
                    <a:lnTo>
                      <a:pt x="1471192" y="1061"/>
                    </a:lnTo>
                    <a:cubicBezTo>
                      <a:pt x="1542265" y="53614"/>
                      <a:pt x="1779582" y="237845"/>
                      <a:pt x="1854298" y="279533"/>
                    </a:cubicBezTo>
                    <a:cubicBezTo>
                      <a:pt x="1929014" y="321221"/>
                      <a:pt x="1916651" y="317796"/>
                      <a:pt x="1919487" y="251191"/>
                    </a:cubicBezTo>
                    <a:cubicBezTo>
                      <a:pt x="1923737" y="144904"/>
                      <a:pt x="1944995" y="127898"/>
                      <a:pt x="2047030" y="127898"/>
                    </a:cubicBezTo>
                    <a:lnTo>
                      <a:pt x="2174571" y="127898"/>
                    </a:lnTo>
                    <a:cubicBezTo>
                      <a:pt x="2238343" y="127898"/>
                      <a:pt x="2270936" y="160492"/>
                      <a:pt x="2270936" y="224263"/>
                    </a:cubicBezTo>
                    <a:cubicBezTo>
                      <a:pt x="2270936" y="312127"/>
                      <a:pt x="2276605" y="399990"/>
                      <a:pt x="2269520" y="486436"/>
                    </a:cubicBezTo>
                    <a:cubicBezTo>
                      <a:pt x="2263851" y="557292"/>
                      <a:pt x="2292195" y="598389"/>
                      <a:pt x="2348879" y="636652"/>
                    </a:cubicBezTo>
                    <a:cubicBezTo>
                      <a:pt x="2484926" y="730184"/>
                      <a:pt x="2618136" y="827967"/>
                      <a:pt x="2752765" y="924332"/>
                    </a:cubicBezTo>
                    <a:cubicBezTo>
                      <a:pt x="2793863" y="954093"/>
                      <a:pt x="2833542" y="982435"/>
                      <a:pt x="2837793" y="1039121"/>
                    </a:cubicBezTo>
                    <a:cubicBezTo>
                      <a:pt x="2842045" y="1092973"/>
                      <a:pt x="2825040" y="1138320"/>
                      <a:pt x="2778273" y="1166663"/>
                    </a:cubicBezTo>
                    <a:cubicBezTo>
                      <a:pt x="2718754" y="1203508"/>
                      <a:pt x="2654983" y="1204925"/>
                      <a:pt x="2596881" y="1166663"/>
                    </a:cubicBezTo>
                    <a:cubicBezTo>
                      <a:pt x="2514687" y="1112812"/>
                      <a:pt x="2435326" y="1051876"/>
                      <a:pt x="2354550" y="995190"/>
                    </a:cubicBezTo>
                    <a:cubicBezTo>
                      <a:pt x="2331875" y="979602"/>
                      <a:pt x="2309200" y="945588"/>
                      <a:pt x="2283692" y="956927"/>
                    </a:cubicBezTo>
                    <a:cubicBezTo>
                      <a:pt x="2255348" y="969680"/>
                      <a:pt x="2270936" y="1007943"/>
                      <a:pt x="2270936" y="1034868"/>
                    </a:cubicBezTo>
                    <a:cubicBezTo>
                      <a:pt x="2269520" y="1207760"/>
                      <a:pt x="2270936" y="1377817"/>
                      <a:pt x="2270936" y="1547875"/>
                    </a:cubicBezTo>
                    <a:lnTo>
                      <a:pt x="2270936" y="2065131"/>
                    </a:lnTo>
                    <a:cubicBezTo>
                      <a:pt x="2270936" y="2162913"/>
                      <a:pt x="2236926" y="2199761"/>
                      <a:pt x="2140560" y="2201177"/>
                    </a:cubicBezTo>
                    <a:lnTo>
                      <a:pt x="1743761" y="2202594"/>
                    </a:lnTo>
                    <a:cubicBezTo>
                      <a:pt x="1691328" y="2204010"/>
                      <a:pt x="1672903" y="2184172"/>
                      <a:pt x="1674320" y="2131736"/>
                    </a:cubicBezTo>
                    <a:cubicBezTo>
                      <a:pt x="1677156" y="2014115"/>
                      <a:pt x="1672903" y="1895074"/>
                      <a:pt x="1675739" y="1777451"/>
                    </a:cubicBezTo>
                    <a:cubicBezTo>
                      <a:pt x="1677156" y="1715097"/>
                      <a:pt x="1655897" y="1686754"/>
                      <a:pt x="1590709" y="1688170"/>
                    </a:cubicBezTo>
                    <a:cubicBezTo>
                      <a:pt x="1477338" y="1691006"/>
                      <a:pt x="1363967" y="1691006"/>
                      <a:pt x="1250596" y="1688170"/>
                    </a:cubicBezTo>
                    <a:cubicBezTo>
                      <a:pt x="1183991" y="1686754"/>
                      <a:pt x="1164149" y="1716515"/>
                      <a:pt x="1165569" y="1777451"/>
                    </a:cubicBezTo>
                    <a:cubicBezTo>
                      <a:pt x="1168402" y="1895074"/>
                      <a:pt x="1164149" y="2014115"/>
                      <a:pt x="1166985" y="2131736"/>
                    </a:cubicBezTo>
                    <a:cubicBezTo>
                      <a:pt x="1168402" y="2184172"/>
                      <a:pt x="1148560" y="2202594"/>
                      <a:pt x="1096128" y="2201177"/>
                    </a:cubicBezTo>
                    <a:cubicBezTo>
                      <a:pt x="965751" y="2198341"/>
                      <a:pt x="836791" y="2201177"/>
                      <a:pt x="706414" y="2199761"/>
                    </a:cubicBezTo>
                    <a:cubicBezTo>
                      <a:pt x="604380" y="2198341"/>
                      <a:pt x="570368" y="2164330"/>
                      <a:pt x="570368" y="2062295"/>
                    </a:cubicBezTo>
                    <a:cubicBezTo>
                      <a:pt x="570368" y="1715097"/>
                      <a:pt x="570368" y="1367899"/>
                      <a:pt x="568952" y="1020699"/>
                    </a:cubicBezTo>
                    <a:cubicBezTo>
                      <a:pt x="568952" y="999441"/>
                      <a:pt x="581705" y="968263"/>
                      <a:pt x="554779" y="956927"/>
                    </a:cubicBezTo>
                    <a:cubicBezTo>
                      <a:pt x="534941" y="948424"/>
                      <a:pt x="517933" y="972515"/>
                      <a:pt x="500928" y="985268"/>
                    </a:cubicBezTo>
                    <a:cubicBezTo>
                      <a:pt x="421569" y="1041954"/>
                      <a:pt x="343626" y="1097223"/>
                      <a:pt x="265682" y="1155325"/>
                    </a:cubicBezTo>
                    <a:cubicBezTo>
                      <a:pt x="227419" y="1183669"/>
                      <a:pt x="186322" y="1199258"/>
                      <a:pt x="139558" y="1193589"/>
                    </a:cubicBezTo>
                    <a:cubicBezTo>
                      <a:pt x="75786" y="1186502"/>
                      <a:pt x="24767" y="1159578"/>
                      <a:pt x="6345" y="1094389"/>
                    </a:cubicBezTo>
                    <a:cubicBezTo>
                      <a:pt x="-12077" y="1033451"/>
                      <a:pt x="10598" y="982435"/>
                      <a:pt x="61615" y="945588"/>
                    </a:cubicBezTo>
                    <a:lnTo>
                      <a:pt x="509430" y="622482"/>
                    </a:lnTo>
                    <a:lnTo>
                      <a:pt x="1280356" y="68379"/>
                    </a:lnTo>
                    <a:cubicBezTo>
                      <a:pt x="1295059" y="57928"/>
                      <a:pt x="1308611" y="48783"/>
                      <a:pt x="1321301" y="4094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  <a:scene3d>
                <a:camera prst="isometricOffAxis1Top">
                  <a:rot lat="20561058" lon="19595284" rev="2221325"/>
                </a:camera>
                <a:lightRig rig="threePt" dir="t"/>
              </a:scene3d>
              <a:sp3d extrusionH="76200">
                <a:bevelB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2000" dirty="0"/>
              </a:p>
            </p:txBody>
          </p:sp>
        </p:grpSp>
      </p:grpSp>
      <p:sp>
        <p:nvSpPr>
          <p:cNvPr id="20" name="Rectangle 19"/>
          <p:cNvSpPr/>
          <p:nvPr/>
        </p:nvSpPr>
        <p:spPr>
          <a:xfrm>
            <a:off x="545745" y="759099"/>
            <a:ext cx="2248565" cy="1084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>
              <a:spcBef>
                <a:spcPct val="20000"/>
              </a:spcBef>
              <a:defRPr/>
            </a:pPr>
            <a:r>
              <a:rPr lang="en-IN" sz="3300" dirty="0" smtClean="0">
                <a:solidFill>
                  <a:srgbClr val="FF9900"/>
                </a:solidFill>
                <a:latin typeface="Impact" panose="020B0806030902050204" pitchFamily="34" charset="0"/>
                <a:cs typeface="Segoe UI" panose="020B0502040204020203" pitchFamily="34" charset="0"/>
              </a:rPr>
              <a:t>Model Tenancy Act</a:t>
            </a:r>
            <a:endParaRPr lang="en-IN" sz="3300" dirty="0">
              <a:solidFill>
                <a:srgbClr val="FF9900"/>
              </a:solidFill>
              <a:latin typeface="Impact" panose="020B0806030902050204" pitchFamily="34" charset="0"/>
              <a:cs typeface="Segoe UI" panose="020B0502040204020203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411279" y="840076"/>
            <a:ext cx="11802" cy="906837"/>
          </a:xfrm>
          <a:prstGeom prst="line">
            <a:avLst/>
          </a:prstGeom>
          <a:ln w="762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2906973" y="259305"/>
            <a:ext cx="27296" cy="4720419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33"/>
          <p:cNvGrpSpPr/>
          <p:nvPr/>
        </p:nvGrpSpPr>
        <p:grpSpPr>
          <a:xfrm>
            <a:off x="80356" y="4304769"/>
            <a:ext cx="2744731" cy="807172"/>
            <a:chOff x="3387274" y="1780667"/>
            <a:chExt cx="5347719" cy="2333046"/>
          </a:xfrm>
        </p:grpSpPr>
        <p:grpSp>
          <p:nvGrpSpPr>
            <p:cNvPr id="8" name="Group 34">
              <a:extLst>
                <a:ext uri="{FF2B5EF4-FFF2-40B4-BE49-F238E27FC236}">
                  <a16:creationId xmlns="" xmlns:a16="http://schemas.microsoft.com/office/drawing/2014/main" id="{BC7B065B-54AE-4A53-B6A8-39DDA8269F89}"/>
                </a:ext>
              </a:extLst>
            </p:cNvPr>
            <p:cNvGrpSpPr/>
            <p:nvPr/>
          </p:nvGrpSpPr>
          <p:grpSpPr>
            <a:xfrm>
              <a:off x="3387274" y="1780667"/>
              <a:ext cx="5347719" cy="2333046"/>
              <a:chOff x="3387275" y="1423862"/>
              <a:chExt cx="5347719" cy="2333046"/>
            </a:xfrm>
          </p:grpSpPr>
          <p:sp>
            <p:nvSpPr>
              <p:cNvPr id="55" name="Freeform: Shape 167">
                <a:extLst>
                  <a:ext uri="{FF2B5EF4-FFF2-40B4-BE49-F238E27FC236}">
                    <a16:creationId xmlns="" xmlns:a16="http://schemas.microsoft.com/office/drawing/2014/main" id="{5D903EF6-91AB-4BF1-B86F-30CE376FD13F}"/>
                  </a:ext>
                </a:extLst>
              </p:cNvPr>
              <p:cNvSpPr/>
              <p:nvPr/>
            </p:nvSpPr>
            <p:spPr>
              <a:xfrm>
                <a:off x="5167979" y="1635491"/>
                <a:ext cx="428693" cy="2119360"/>
              </a:xfrm>
              <a:custGeom>
                <a:avLst/>
                <a:gdLst>
                  <a:gd name="connsiteX0" fmla="*/ 477202 w 476250"/>
                  <a:gd name="connsiteY0" fmla="*/ 2308860 h 2305050"/>
                  <a:gd name="connsiteX1" fmla="*/ 0 w 476250"/>
                  <a:gd name="connsiteY1" fmla="*/ 2308860 h 2305050"/>
                  <a:gd name="connsiteX2" fmla="*/ 0 w 476250"/>
                  <a:gd name="connsiteY2" fmla="*/ 0 h 2305050"/>
                  <a:gd name="connsiteX3" fmla="*/ 477202 w 476250"/>
                  <a:gd name="connsiteY3" fmla="*/ 0 h 2305050"/>
                  <a:gd name="connsiteX4" fmla="*/ 477202 w 476250"/>
                  <a:gd name="connsiteY4" fmla="*/ 2308860 h 2305050"/>
                  <a:gd name="connsiteX5" fmla="*/ 452438 w 476250"/>
                  <a:gd name="connsiteY5" fmla="*/ 1071563 h 2305050"/>
                  <a:gd name="connsiteX6" fmla="*/ 332422 w 476250"/>
                  <a:gd name="connsiteY6" fmla="*/ 1071563 h 2305050"/>
                  <a:gd name="connsiteX7" fmla="*/ 332422 w 476250"/>
                  <a:gd name="connsiteY7" fmla="*/ 1188720 h 2305050"/>
                  <a:gd name="connsiteX8" fmla="*/ 452438 w 476250"/>
                  <a:gd name="connsiteY8" fmla="*/ 1188720 h 2305050"/>
                  <a:gd name="connsiteX9" fmla="*/ 452438 w 476250"/>
                  <a:gd name="connsiteY9" fmla="*/ 1071563 h 2305050"/>
                  <a:gd name="connsiteX10" fmla="*/ 298132 w 476250"/>
                  <a:gd name="connsiteY10" fmla="*/ 1190625 h 2305050"/>
                  <a:gd name="connsiteX11" fmla="*/ 298132 w 476250"/>
                  <a:gd name="connsiteY11" fmla="*/ 1070610 h 2305050"/>
                  <a:gd name="connsiteX12" fmla="*/ 180975 w 476250"/>
                  <a:gd name="connsiteY12" fmla="*/ 1070610 h 2305050"/>
                  <a:gd name="connsiteX13" fmla="*/ 180975 w 476250"/>
                  <a:gd name="connsiteY13" fmla="*/ 1190625 h 2305050"/>
                  <a:gd name="connsiteX14" fmla="*/ 298132 w 476250"/>
                  <a:gd name="connsiteY14" fmla="*/ 1190625 h 2305050"/>
                  <a:gd name="connsiteX15" fmla="*/ 27622 w 476250"/>
                  <a:gd name="connsiteY15" fmla="*/ 1188720 h 2305050"/>
                  <a:gd name="connsiteX16" fmla="*/ 146685 w 476250"/>
                  <a:gd name="connsiteY16" fmla="*/ 1188720 h 2305050"/>
                  <a:gd name="connsiteX17" fmla="*/ 146685 w 476250"/>
                  <a:gd name="connsiteY17" fmla="*/ 1070610 h 2305050"/>
                  <a:gd name="connsiteX18" fmla="*/ 27622 w 476250"/>
                  <a:gd name="connsiteY18" fmla="*/ 1070610 h 2305050"/>
                  <a:gd name="connsiteX19" fmla="*/ 27622 w 476250"/>
                  <a:gd name="connsiteY19" fmla="*/ 1188720 h 2305050"/>
                  <a:gd name="connsiteX20" fmla="*/ 28575 w 476250"/>
                  <a:gd name="connsiteY20" fmla="*/ 328613 h 2305050"/>
                  <a:gd name="connsiteX21" fmla="*/ 28575 w 476250"/>
                  <a:gd name="connsiteY21" fmla="*/ 448627 h 2305050"/>
                  <a:gd name="connsiteX22" fmla="*/ 147638 w 476250"/>
                  <a:gd name="connsiteY22" fmla="*/ 448627 h 2305050"/>
                  <a:gd name="connsiteX23" fmla="*/ 147638 w 476250"/>
                  <a:gd name="connsiteY23" fmla="*/ 328613 h 2305050"/>
                  <a:gd name="connsiteX24" fmla="*/ 28575 w 476250"/>
                  <a:gd name="connsiteY24" fmla="*/ 328613 h 2305050"/>
                  <a:gd name="connsiteX25" fmla="*/ 450532 w 476250"/>
                  <a:gd name="connsiteY25" fmla="*/ 744855 h 2305050"/>
                  <a:gd name="connsiteX26" fmla="*/ 450532 w 476250"/>
                  <a:gd name="connsiteY26" fmla="*/ 627697 h 2305050"/>
                  <a:gd name="connsiteX27" fmla="*/ 331470 w 476250"/>
                  <a:gd name="connsiteY27" fmla="*/ 627697 h 2305050"/>
                  <a:gd name="connsiteX28" fmla="*/ 331470 w 476250"/>
                  <a:gd name="connsiteY28" fmla="*/ 744855 h 2305050"/>
                  <a:gd name="connsiteX29" fmla="*/ 450532 w 476250"/>
                  <a:gd name="connsiteY29" fmla="*/ 744855 h 2305050"/>
                  <a:gd name="connsiteX30" fmla="*/ 147638 w 476250"/>
                  <a:gd name="connsiteY30" fmla="*/ 626745 h 2305050"/>
                  <a:gd name="connsiteX31" fmla="*/ 27622 w 476250"/>
                  <a:gd name="connsiteY31" fmla="*/ 626745 h 2305050"/>
                  <a:gd name="connsiteX32" fmla="*/ 27622 w 476250"/>
                  <a:gd name="connsiteY32" fmla="*/ 743902 h 2305050"/>
                  <a:gd name="connsiteX33" fmla="*/ 147638 w 476250"/>
                  <a:gd name="connsiteY33" fmla="*/ 743902 h 2305050"/>
                  <a:gd name="connsiteX34" fmla="*/ 147638 w 476250"/>
                  <a:gd name="connsiteY34" fmla="*/ 626745 h 2305050"/>
                  <a:gd name="connsiteX35" fmla="*/ 298132 w 476250"/>
                  <a:gd name="connsiteY35" fmla="*/ 1337310 h 2305050"/>
                  <a:gd name="connsiteX36" fmla="*/ 298132 w 476250"/>
                  <a:gd name="connsiteY36" fmla="*/ 1219200 h 2305050"/>
                  <a:gd name="connsiteX37" fmla="*/ 180975 w 476250"/>
                  <a:gd name="connsiteY37" fmla="*/ 1219200 h 2305050"/>
                  <a:gd name="connsiteX38" fmla="*/ 180975 w 476250"/>
                  <a:gd name="connsiteY38" fmla="*/ 1337310 h 2305050"/>
                  <a:gd name="connsiteX39" fmla="*/ 298132 w 476250"/>
                  <a:gd name="connsiteY39" fmla="*/ 1337310 h 2305050"/>
                  <a:gd name="connsiteX40" fmla="*/ 180022 w 476250"/>
                  <a:gd name="connsiteY40" fmla="*/ 476250 h 2305050"/>
                  <a:gd name="connsiteX41" fmla="*/ 180022 w 476250"/>
                  <a:gd name="connsiteY41" fmla="*/ 595313 h 2305050"/>
                  <a:gd name="connsiteX42" fmla="*/ 299085 w 476250"/>
                  <a:gd name="connsiteY42" fmla="*/ 595313 h 2305050"/>
                  <a:gd name="connsiteX43" fmla="*/ 299085 w 476250"/>
                  <a:gd name="connsiteY43" fmla="*/ 476250 h 2305050"/>
                  <a:gd name="connsiteX44" fmla="*/ 180022 w 476250"/>
                  <a:gd name="connsiteY44" fmla="*/ 476250 h 2305050"/>
                  <a:gd name="connsiteX45" fmla="*/ 452438 w 476250"/>
                  <a:gd name="connsiteY45" fmla="*/ 32385 h 2305050"/>
                  <a:gd name="connsiteX46" fmla="*/ 330518 w 476250"/>
                  <a:gd name="connsiteY46" fmla="*/ 32385 h 2305050"/>
                  <a:gd name="connsiteX47" fmla="*/ 330518 w 476250"/>
                  <a:gd name="connsiteY47" fmla="*/ 148590 h 2305050"/>
                  <a:gd name="connsiteX48" fmla="*/ 452438 w 476250"/>
                  <a:gd name="connsiteY48" fmla="*/ 148590 h 2305050"/>
                  <a:gd name="connsiteX49" fmla="*/ 452438 w 476250"/>
                  <a:gd name="connsiteY49" fmla="*/ 32385 h 2305050"/>
                  <a:gd name="connsiteX50" fmla="*/ 300038 w 476250"/>
                  <a:gd name="connsiteY50" fmla="*/ 31432 h 2305050"/>
                  <a:gd name="connsiteX51" fmla="*/ 180022 w 476250"/>
                  <a:gd name="connsiteY51" fmla="*/ 31432 h 2305050"/>
                  <a:gd name="connsiteX52" fmla="*/ 180022 w 476250"/>
                  <a:gd name="connsiteY52" fmla="*/ 149542 h 2305050"/>
                  <a:gd name="connsiteX53" fmla="*/ 300038 w 476250"/>
                  <a:gd name="connsiteY53" fmla="*/ 149542 h 2305050"/>
                  <a:gd name="connsiteX54" fmla="*/ 300038 w 476250"/>
                  <a:gd name="connsiteY54" fmla="*/ 31432 h 2305050"/>
                  <a:gd name="connsiteX55" fmla="*/ 300038 w 476250"/>
                  <a:gd name="connsiteY55" fmla="*/ 299085 h 2305050"/>
                  <a:gd name="connsiteX56" fmla="*/ 300038 w 476250"/>
                  <a:gd name="connsiteY56" fmla="*/ 180022 h 2305050"/>
                  <a:gd name="connsiteX57" fmla="*/ 179070 w 476250"/>
                  <a:gd name="connsiteY57" fmla="*/ 180022 h 2305050"/>
                  <a:gd name="connsiteX58" fmla="*/ 179070 w 476250"/>
                  <a:gd name="connsiteY58" fmla="*/ 299085 h 2305050"/>
                  <a:gd name="connsiteX59" fmla="*/ 300038 w 476250"/>
                  <a:gd name="connsiteY59" fmla="*/ 299085 h 2305050"/>
                  <a:gd name="connsiteX60" fmla="*/ 147638 w 476250"/>
                  <a:gd name="connsiteY60" fmla="*/ 477202 h 2305050"/>
                  <a:gd name="connsiteX61" fmla="*/ 26670 w 476250"/>
                  <a:gd name="connsiteY61" fmla="*/ 477202 h 2305050"/>
                  <a:gd name="connsiteX62" fmla="*/ 26670 w 476250"/>
                  <a:gd name="connsiteY62" fmla="*/ 594360 h 2305050"/>
                  <a:gd name="connsiteX63" fmla="*/ 147638 w 476250"/>
                  <a:gd name="connsiteY63" fmla="*/ 594360 h 2305050"/>
                  <a:gd name="connsiteX64" fmla="*/ 147638 w 476250"/>
                  <a:gd name="connsiteY64" fmla="*/ 477202 h 2305050"/>
                  <a:gd name="connsiteX65" fmla="*/ 450532 w 476250"/>
                  <a:gd name="connsiteY65" fmla="*/ 1041082 h 2305050"/>
                  <a:gd name="connsiteX66" fmla="*/ 450532 w 476250"/>
                  <a:gd name="connsiteY66" fmla="*/ 923925 h 2305050"/>
                  <a:gd name="connsiteX67" fmla="*/ 331470 w 476250"/>
                  <a:gd name="connsiteY67" fmla="*/ 923925 h 2305050"/>
                  <a:gd name="connsiteX68" fmla="*/ 331470 w 476250"/>
                  <a:gd name="connsiteY68" fmla="*/ 1041082 h 2305050"/>
                  <a:gd name="connsiteX69" fmla="*/ 450532 w 476250"/>
                  <a:gd name="connsiteY69" fmla="*/ 1041082 h 2305050"/>
                  <a:gd name="connsiteX70" fmla="*/ 332422 w 476250"/>
                  <a:gd name="connsiteY70" fmla="*/ 1218248 h 2305050"/>
                  <a:gd name="connsiteX71" fmla="*/ 332422 w 476250"/>
                  <a:gd name="connsiteY71" fmla="*/ 1336357 h 2305050"/>
                  <a:gd name="connsiteX72" fmla="*/ 451485 w 476250"/>
                  <a:gd name="connsiteY72" fmla="*/ 1336357 h 2305050"/>
                  <a:gd name="connsiteX73" fmla="*/ 451485 w 476250"/>
                  <a:gd name="connsiteY73" fmla="*/ 1218248 h 2305050"/>
                  <a:gd name="connsiteX74" fmla="*/ 332422 w 476250"/>
                  <a:gd name="connsiteY74" fmla="*/ 1218248 h 2305050"/>
                  <a:gd name="connsiteX75" fmla="*/ 452438 w 476250"/>
                  <a:gd name="connsiteY75" fmla="*/ 447675 h 2305050"/>
                  <a:gd name="connsiteX76" fmla="*/ 452438 w 476250"/>
                  <a:gd name="connsiteY76" fmla="*/ 329565 h 2305050"/>
                  <a:gd name="connsiteX77" fmla="*/ 331470 w 476250"/>
                  <a:gd name="connsiteY77" fmla="*/ 329565 h 2305050"/>
                  <a:gd name="connsiteX78" fmla="*/ 331470 w 476250"/>
                  <a:gd name="connsiteY78" fmla="*/ 447675 h 2305050"/>
                  <a:gd name="connsiteX79" fmla="*/ 452438 w 476250"/>
                  <a:gd name="connsiteY79" fmla="*/ 447675 h 2305050"/>
                  <a:gd name="connsiteX80" fmla="*/ 300038 w 476250"/>
                  <a:gd name="connsiteY80" fmla="*/ 448627 h 2305050"/>
                  <a:gd name="connsiteX81" fmla="*/ 300038 w 476250"/>
                  <a:gd name="connsiteY81" fmla="*/ 328613 h 2305050"/>
                  <a:gd name="connsiteX82" fmla="*/ 180022 w 476250"/>
                  <a:gd name="connsiteY82" fmla="*/ 328613 h 2305050"/>
                  <a:gd name="connsiteX83" fmla="*/ 180022 w 476250"/>
                  <a:gd name="connsiteY83" fmla="*/ 448627 h 2305050"/>
                  <a:gd name="connsiteX84" fmla="*/ 300038 w 476250"/>
                  <a:gd name="connsiteY84" fmla="*/ 448627 h 2305050"/>
                  <a:gd name="connsiteX85" fmla="*/ 146685 w 476250"/>
                  <a:gd name="connsiteY85" fmla="*/ 299085 h 2305050"/>
                  <a:gd name="connsiteX86" fmla="*/ 146685 w 476250"/>
                  <a:gd name="connsiteY86" fmla="*/ 181927 h 2305050"/>
                  <a:gd name="connsiteX87" fmla="*/ 27622 w 476250"/>
                  <a:gd name="connsiteY87" fmla="*/ 181927 h 2305050"/>
                  <a:gd name="connsiteX88" fmla="*/ 27622 w 476250"/>
                  <a:gd name="connsiteY88" fmla="*/ 299085 h 2305050"/>
                  <a:gd name="connsiteX89" fmla="*/ 146685 w 476250"/>
                  <a:gd name="connsiteY89" fmla="*/ 299085 h 2305050"/>
                  <a:gd name="connsiteX90" fmla="*/ 145732 w 476250"/>
                  <a:gd name="connsiteY90" fmla="*/ 889635 h 2305050"/>
                  <a:gd name="connsiteX91" fmla="*/ 145732 w 476250"/>
                  <a:gd name="connsiteY91" fmla="*/ 772477 h 2305050"/>
                  <a:gd name="connsiteX92" fmla="*/ 28575 w 476250"/>
                  <a:gd name="connsiteY92" fmla="*/ 772477 h 2305050"/>
                  <a:gd name="connsiteX93" fmla="*/ 28575 w 476250"/>
                  <a:gd name="connsiteY93" fmla="*/ 889635 h 2305050"/>
                  <a:gd name="connsiteX94" fmla="*/ 145732 w 476250"/>
                  <a:gd name="connsiteY94" fmla="*/ 889635 h 2305050"/>
                  <a:gd name="connsiteX95" fmla="*/ 179070 w 476250"/>
                  <a:gd name="connsiteY95" fmla="*/ 889635 h 2305050"/>
                  <a:gd name="connsiteX96" fmla="*/ 298132 w 476250"/>
                  <a:gd name="connsiteY96" fmla="*/ 889635 h 2305050"/>
                  <a:gd name="connsiteX97" fmla="*/ 298132 w 476250"/>
                  <a:gd name="connsiteY97" fmla="*/ 772477 h 2305050"/>
                  <a:gd name="connsiteX98" fmla="*/ 179070 w 476250"/>
                  <a:gd name="connsiteY98" fmla="*/ 772477 h 2305050"/>
                  <a:gd name="connsiteX99" fmla="*/ 179070 w 476250"/>
                  <a:gd name="connsiteY99" fmla="*/ 889635 h 2305050"/>
                  <a:gd name="connsiteX100" fmla="*/ 450532 w 476250"/>
                  <a:gd name="connsiteY100" fmla="*/ 890588 h 2305050"/>
                  <a:gd name="connsiteX101" fmla="*/ 450532 w 476250"/>
                  <a:gd name="connsiteY101" fmla="*/ 771525 h 2305050"/>
                  <a:gd name="connsiteX102" fmla="*/ 331470 w 476250"/>
                  <a:gd name="connsiteY102" fmla="*/ 771525 h 2305050"/>
                  <a:gd name="connsiteX103" fmla="*/ 331470 w 476250"/>
                  <a:gd name="connsiteY103" fmla="*/ 890588 h 2305050"/>
                  <a:gd name="connsiteX104" fmla="*/ 450532 w 476250"/>
                  <a:gd name="connsiteY104" fmla="*/ 890588 h 2305050"/>
                  <a:gd name="connsiteX105" fmla="*/ 298132 w 476250"/>
                  <a:gd name="connsiteY105" fmla="*/ 1370648 h 2305050"/>
                  <a:gd name="connsiteX106" fmla="*/ 180022 w 476250"/>
                  <a:gd name="connsiteY106" fmla="*/ 1370648 h 2305050"/>
                  <a:gd name="connsiteX107" fmla="*/ 180022 w 476250"/>
                  <a:gd name="connsiteY107" fmla="*/ 1486853 h 2305050"/>
                  <a:gd name="connsiteX108" fmla="*/ 298132 w 476250"/>
                  <a:gd name="connsiteY108" fmla="*/ 1486853 h 2305050"/>
                  <a:gd name="connsiteX109" fmla="*/ 298132 w 476250"/>
                  <a:gd name="connsiteY109" fmla="*/ 1370648 h 2305050"/>
                  <a:gd name="connsiteX110" fmla="*/ 299085 w 476250"/>
                  <a:gd name="connsiteY110" fmla="*/ 1632585 h 2305050"/>
                  <a:gd name="connsiteX111" fmla="*/ 299085 w 476250"/>
                  <a:gd name="connsiteY111" fmla="*/ 1516380 h 2305050"/>
                  <a:gd name="connsiteX112" fmla="*/ 179070 w 476250"/>
                  <a:gd name="connsiteY112" fmla="*/ 1516380 h 2305050"/>
                  <a:gd name="connsiteX113" fmla="*/ 179070 w 476250"/>
                  <a:gd name="connsiteY113" fmla="*/ 1632585 h 2305050"/>
                  <a:gd name="connsiteX114" fmla="*/ 299085 w 476250"/>
                  <a:gd name="connsiteY114" fmla="*/ 1632585 h 2305050"/>
                  <a:gd name="connsiteX115" fmla="*/ 146685 w 476250"/>
                  <a:gd name="connsiteY115" fmla="*/ 1370648 h 2305050"/>
                  <a:gd name="connsiteX116" fmla="*/ 28575 w 476250"/>
                  <a:gd name="connsiteY116" fmla="*/ 1370648 h 2305050"/>
                  <a:gd name="connsiteX117" fmla="*/ 28575 w 476250"/>
                  <a:gd name="connsiteY117" fmla="*/ 1486853 h 2305050"/>
                  <a:gd name="connsiteX118" fmla="*/ 146685 w 476250"/>
                  <a:gd name="connsiteY118" fmla="*/ 1486853 h 2305050"/>
                  <a:gd name="connsiteX119" fmla="*/ 146685 w 476250"/>
                  <a:gd name="connsiteY119" fmla="*/ 1370648 h 2305050"/>
                  <a:gd name="connsiteX120" fmla="*/ 449580 w 476250"/>
                  <a:gd name="connsiteY120" fmla="*/ 1631632 h 2305050"/>
                  <a:gd name="connsiteX121" fmla="*/ 449580 w 476250"/>
                  <a:gd name="connsiteY121" fmla="*/ 1514475 h 2305050"/>
                  <a:gd name="connsiteX122" fmla="*/ 332422 w 476250"/>
                  <a:gd name="connsiteY122" fmla="*/ 1514475 h 2305050"/>
                  <a:gd name="connsiteX123" fmla="*/ 332422 w 476250"/>
                  <a:gd name="connsiteY123" fmla="*/ 1631632 h 2305050"/>
                  <a:gd name="connsiteX124" fmla="*/ 449580 w 476250"/>
                  <a:gd name="connsiteY124" fmla="*/ 1631632 h 230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476250" h="2305050">
                    <a:moveTo>
                      <a:pt x="477202" y="2308860"/>
                    </a:moveTo>
                    <a:cubicBezTo>
                      <a:pt x="316230" y="2308860"/>
                      <a:pt x="160020" y="2308860"/>
                      <a:pt x="0" y="2308860"/>
                    </a:cubicBezTo>
                    <a:cubicBezTo>
                      <a:pt x="0" y="1539240"/>
                      <a:pt x="0" y="771525"/>
                      <a:pt x="0" y="0"/>
                    </a:cubicBezTo>
                    <a:cubicBezTo>
                      <a:pt x="157163" y="0"/>
                      <a:pt x="315277" y="0"/>
                      <a:pt x="477202" y="0"/>
                    </a:cubicBezTo>
                    <a:cubicBezTo>
                      <a:pt x="477202" y="767715"/>
                      <a:pt x="477202" y="1536382"/>
                      <a:pt x="477202" y="2308860"/>
                    </a:cubicBezTo>
                    <a:close/>
                    <a:moveTo>
                      <a:pt x="452438" y="1071563"/>
                    </a:moveTo>
                    <a:cubicBezTo>
                      <a:pt x="412432" y="1071563"/>
                      <a:pt x="372427" y="1071563"/>
                      <a:pt x="332422" y="1071563"/>
                    </a:cubicBezTo>
                    <a:cubicBezTo>
                      <a:pt x="332422" y="1112520"/>
                      <a:pt x="332422" y="1150620"/>
                      <a:pt x="332422" y="1188720"/>
                    </a:cubicBezTo>
                    <a:cubicBezTo>
                      <a:pt x="374332" y="1188720"/>
                      <a:pt x="412432" y="1188720"/>
                      <a:pt x="452438" y="1188720"/>
                    </a:cubicBezTo>
                    <a:cubicBezTo>
                      <a:pt x="452438" y="1147763"/>
                      <a:pt x="452438" y="1111567"/>
                      <a:pt x="452438" y="1071563"/>
                    </a:cubicBezTo>
                    <a:close/>
                    <a:moveTo>
                      <a:pt x="298132" y="1190625"/>
                    </a:moveTo>
                    <a:cubicBezTo>
                      <a:pt x="298132" y="1147763"/>
                      <a:pt x="298132" y="1108710"/>
                      <a:pt x="298132" y="1070610"/>
                    </a:cubicBezTo>
                    <a:cubicBezTo>
                      <a:pt x="256222" y="1070610"/>
                      <a:pt x="218122" y="1070610"/>
                      <a:pt x="180975" y="1070610"/>
                    </a:cubicBezTo>
                    <a:cubicBezTo>
                      <a:pt x="180975" y="1112520"/>
                      <a:pt x="180975" y="1151573"/>
                      <a:pt x="180975" y="1190625"/>
                    </a:cubicBezTo>
                    <a:cubicBezTo>
                      <a:pt x="220980" y="1190625"/>
                      <a:pt x="257175" y="1190625"/>
                      <a:pt x="298132" y="1190625"/>
                    </a:cubicBezTo>
                    <a:close/>
                    <a:moveTo>
                      <a:pt x="27622" y="1188720"/>
                    </a:moveTo>
                    <a:cubicBezTo>
                      <a:pt x="68580" y="1188720"/>
                      <a:pt x="106680" y="1188720"/>
                      <a:pt x="146685" y="1188720"/>
                    </a:cubicBezTo>
                    <a:cubicBezTo>
                      <a:pt x="146685" y="1146810"/>
                      <a:pt x="146685" y="1108710"/>
                      <a:pt x="146685" y="1070610"/>
                    </a:cubicBezTo>
                    <a:cubicBezTo>
                      <a:pt x="104775" y="1070610"/>
                      <a:pt x="66675" y="1070610"/>
                      <a:pt x="27622" y="1070610"/>
                    </a:cubicBezTo>
                    <a:cubicBezTo>
                      <a:pt x="27622" y="1112520"/>
                      <a:pt x="27622" y="1149667"/>
                      <a:pt x="27622" y="1188720"/>
                    </a:cubicBezTo>
                    <a:close/>
                    <a:moveTo>
                      <a:pt x="28575" y="328613"/>
                    </a:moveTo>
                    <a:cubicBezTo>
                      <a:pt x="28575" y="372427"/>
                      <a:pt x="28575" y="410527"/>
                      <a:pt x="28575" y="448627"/>
                    </a:cubicBezTo>
                    <a:cubicBezTo>
                      <a:pt x="70485" y="448627"/>
                      <a:pt x="107632" y="448627"/>
                      <a:pt x="147638" y="448627"/>
                    </a:cubicBezTo>
                    <a:cubicBezTo>
                      <a:pt x="147638" y="407670"/>
                      <a:pt x="147638" y="369570"/>
                      <a:pt x="147638" y="328613"/>
                    </a:cubicBezTo>
                    <a:cubicBezTo>
                      <a:pt x="106680" y="328613"/>
                      <a:pt x="68580" y="328613"/>
                      <a:pt x="28575" y="328613"/>
                    </a:cubicBezTo>
                    <a:close/>
                    <a:moveTo>
                      <a:pt x="450532" y="744855"/>
                    </a:moveTo>
                    <a:cubicBezTo>
                      <a:pt x="450532" y="702945"/>
                      <a:pt x="450532" y="664845"/>
                      <a:pt x="450532" y="627697"/>
                    </a:cubicBezTo>
                    <a:cubicBezTo>
                      <a:pt x="408622" y="627697"/>
                      <a:pt x="369570" y="627697"/>
                      <a:pt x="331470" y="627697"/>
                    </a:cubicBezTo>
                    <a:cubicBezTo>
                      <a:pt x="331470" y="668655"/>
                      <a:pt x="331470" y="705802"/>
                      <a:pt x="331470" y="744855"/>
                    </a:cubicBezTo>
                    <a:cubicBezTo>
                      <a:pt x="371475" y="744855"/>
                      <a:pt x="409575" y="744855"/>
                      <a:pt x="450532" y="744855"/>
                    </a:cubicBezTo>
                    <a:close/>
                    <a:moveTo>
                      <a:pt x="147638" y="626745"/>
                    </a:moveTo>
                    <a:cubicBezTo>
                      <a:pt x="106680" y="626745"/>
                      <a:pt x="67627" y="626745"/>
                      <a:pt x="27622" y="626745"/>
                    </a:cubicBezTo>
                    <a:cubicBezTo>
                      <a:pt x="27622" y="667702"/>
                      <a:pt x="27622" y="706755"/>
                      <a:pt x="27622" y="743902"/>
                    </a:cubicBezTo>
                    <a:cubicBezTo>
                      <a:pt x="69532" y="743902"/>
                      <a:pt x="107632" y="743902"/>
                      <a:pt x="147638" y="743902"/>
                    </a:cubicBezTo>
                    <a:cubicBezTo>
                      <a:pt x="147638" y="702945"/>
                      <a:pt x="147638" y="665797"/>
                      <a:pt x="147638" y="626745"/>
                    </a:cubicBezTo>
                    <a:close/>
                    <a:moveTo>
                      <a:pt x="298132" y="1337310"/>
                    </a:moveTo>
                    <a:cubicBezTo>
                      <a:pt x="298132" y="1295400"/>
                      <a:pt x="298132" y="1257300"/>
                      <a:pt x="298132" y="1219200"/>
                    </a:cubicBezTo>
                    <a:cubicBezTo>
                      <a:pt x="256222" y="1219200"/>
                      <a:pt x="219075" y="1219200"/>
                      <a:pt x="180975" y="1219200"/>
                    </a:cubicBezTo>
                    <a:cubicBezTo>
                      <a:pt x="180975" y="1260157"/>
                      <a:pt x="180975" y="1298257"/>
                      <a:pt x="180975" y="1337310"/>
                    </a:cubicBezTo>
                    <a:cubicBezTo>
                      <a:pt x="220980" y="1337310"/>
                      <a:pt x="257175" y="1337310"/>
                      <a:pt x="298132" y="1337310"/>
                    </a:cubicBezTo>
                    <a:close/>
                    <a:moveTo>
                      <a:pt x="180022" y="476250"/>
                    </a:moveTo>
                    <a:cubicBezTo>
                      <a:pt x="180022" y="518160"/>
                      <a:pt x="180022" y="556260"/>
                      <a:pt x="180022" y="595313"/>
                    </a:cubicBezTo>
                    <a:cubicBezTo>
                      <a:pt x="220980" y="595313"/>
                      <a:pt x="259080" y="595313"/>
                      <a:pt x="299085" y="595313"/>
                    </a:cubicBezTo>
                    <a:cubicBezTo>
                      <a:pt x="299085" y="554355"/>
                      <a:pt x="299085" y="516255"/>
                      <a:pt x="299085" y="476250"/>
                    </a:cubicBezTo>
                    <a:cubicBezTo>
                      <a:pt x="259080" y="476250"/>
                      <a:pt x="220980" y="476250"/>
                      <a:pt x="180022" y="476250"/>
                    </a:cubicBezTo>
                    <a:close/>
                    <a:moveTo>
                      <a:pt x="452438" y="32385"/>
                    </a:moveTo>
                    <a:cubicBezTo>
                      <a:pt x="411480" y="32385"/>
                      <a:pt x="372427" y="32385"/>
                      <a:pt x="330518" y="32385"/>
                    </a:cubicBezTo>
                    <a:cubicBezTo>
                      <a:pt x="330518" y="71438"/>
                      <a:pt x="330518" y="108585"/>
                      <a:pt x="330518" y="148590"/>
                    </a:cubicBezTo>
                    <a:cubicBezTo>
                      <a:pt x="371475" y="148590"/>
                      <a:pt x="411480" y="148590"/>
                      <a:pt x="452438" y="148590"/>
                    </a:cubicBezTo>
                    <a:cubicBezTo>
                      <a:pt x="452438" y="109538"/>
                      <a:pt x="452438" y="73342"/>
                      <a:pt x="452438" y="32385"/>
                    </a:cubicBezTo>
                    <a:close/>
                    <a:moveTo>
                      <a:pt x="300038" y="31432"/>
                    </a:moveTo>
                    <a:cubicBezTo>
                      <a:pt x="257175" y="31432"/>
                      <a:pt x="219075" y="31432"/>
                      <a:pt x="180022" y="31432"/>
                    </a:cubicBezTo>
                    <a:cubicBezTo>
                      <a:pt x="180022" y="72390"/>
                      <a:pt x="180022" y="111442"/>
                      <a:pt x="180022" y="149542"/>
                    </a:cubicBezTo>
                    <a:cubicBezTo>
                      <a:pt x="221932" y="149542"/>
                      <a:pt x="260985" y="149542"/>
                      <a:pt x="300038" y="149542"/>
                    </a:cubicBezTo>
                    <a:cubicBezTo>
                      <a:pt x="300038" y="108585"/>
                      <a:pt x="300038" y="71438"/>
                      <a:pt x="300038" y="31432"/>
                    </a:cubicBezTo>
                    <a:close/>
                    <a:moveTo>
                      <a:pt x="300038" y="299085"/>
                    </a:moveTo>
                    <a:cubicBezTo>
                      <a:pt x="300038" y="257175"/>
                      <a:pt x="300038" y="220027"/>
                      <a:pt x="300038" y="180022"/>
                    </a:cubicBezTo>
                    <a:cubicBezTo>
                      <a:pt x="259080" y="180022"/>
                      <a:pt x="220027" y="180022"/>
                      <a:pt x="179070" y="180022"/>
                    </a:cubicBezTo>
                    <a:cubicBezTo>
                      <a:pt x="179070" y="220027"/>
                      <a:pt x="179070" y="258127"/>
                      <a:pt x="179070" y="299085"/>
                    </a:cubicBezTo>
                    <a:cubicBezTo>
                      <a:pt x="220027" y="299085"/>
                      <a:pt x="258127" y="299085"/>
                      <a:pt x="300038" y="299085"/>
                    </a:cubicBezTo>
                    <a:close/>
                    <a:moveTo>
                      <a:pt x="147638" y="477202"/>
                    </a:moveTo>
                    <a:cubicBezTo>
                      <a:pt x="104775" y="477202"/>
                      <a:pt x="66675" y="477202"/>
                      <a:pt x="26670" y="477202"/>
                    </a:cubicBezTo>
                    <a:cubicBezTo>
                      <a:pt x="26670" y="517207"/>
                      <a:pt x="26670" y="554355"/>
                      <a:pt x="26670" y="594360"/>
                    </a:cubicBezTo>
                    <a:cubicBezTo>
                      <a:pt x="67627" y="594360"/>
                      <a:pt x="106680" y="594360"/>
                      <a:pt x="147638" y="594360"/>
                    </a:cubicBezTo>
                    <a:cubicBezTo>
                      <a:pt x="147638" y="554355"/>
                      <a:pt x="147638" y="517207"/>
                      <a:pt x="147638" y="477202"/>
                    </a:cubicBezTo>
                    <a:close/>
                    <a:moveTo>
                      <a:pt x="450532" y="1041082"/>
                    </a:moveTo>
                    <a:cubicBezTo>
                      <a:pt x="450532" y="1001077"/>
                      <a:pt x="450532" y="962025"/>
                      <a:pt x="450532" y="923925"/>
                    </a:cubicBezTo>
                    <a:cubicBezTo>
                      <a:pt x="408622" y="923925"/>
                      <a:pt x="370522" y="923925"/>
                      <a:pt x="331470" y="923925"/>
                    </a:cubicBezTo>
                    <a:cubicBezTo>
                      <a:pt x="331470" y="964882"/>
                      <a:pt x="331470" y="1002030"/>
                      <a:pt x="331470" y="1041082"/>
                    </a:cubicBezTo>
                    <a:cubicBezTo>
                      <a:pt x="372427" y="1041082"/>
                      <a:pt x="410527" y="1041082"/>
                      <a:pt x="450532" y="1041082"/>
                    </a:cubicBezTo>
                    <a:close/>
                    <a:moveTo>
                      <a:pt x="332422" y="1218248"/>
                    </a:moveTo>
                    <a:cubicBezTo>
                      <a:pt x="332422" y="1258253"/>
                      <a:pt x="332422" y="1296353"/>
                      <a:pt x="332422" y="1336357"/>
                    </a:cubicBezTo>
                    <a:cubicBezTo>
                      <a:pt x="373380" y="1336357"/>
                      <a:pt x="410527" y="1336357"/>
                      <a:pt x="451485" y="1336357"/>
                    </a:cubicBezTo>
                    <a:cubicBezTo>
                      <a:pt x="451485" y="1296353"/>
                      <a:pt x="451485" y="1257300"/>
                      <a:pt x="451485" y="1218248"/>
                    </a:cubicBezTo>
                    <a:cubicBezTo>
                      <a:pt x="409575" y="1218248"/>
                      <a:pt x="372427" y="1218248"/>
                      <a:pt x="332422" y="1218248"/>
                    </a:cubicBezTo>
                    <a:close/>
                    <a:moveTo>
                      <a:pt x="452438" y="447675"/>
                    </a:moveTo>
                    <a:cubicBezTo>
                      <a:pt x="452438" y="406717"/>
                      <a:pt x="452438" y="369570"/>
                      <a:pt x="452438" y="329565"/>
                    </a:cubicBezTo>
                    <a:cubicBezTo>
                      <a:pt x="411480" y="329565"/>
                      <a:pt x="371475" y="329565"/>
                      <a:pt x="331470" y="329565"/>
                    </a:cubicBezTo>
                    <a:cubicBezTo>
                      <a:pt x="331470" y="370522"/>
                      <a:pt x="331470" y="408622"/>
                      <a:pt x="331470" y="447675"/>
                    </a:cubicBezTo>
                    <a:cubicBezTo>
                      <a:pt x="371475" y="447675"/>
                      <a:pt x="409575" y="447675"/>
                      <a:pt x="452438" y="447675"/>
                    </a:cubicBezTo>
                    <a:close/>
                    <a:moveTo>
                      <a:pt x="300038" y="448627"/>
                    </a:moveTo>
                    <a:cubicBezTo>
                      <a:pt x="300038" y="405765"/>
                      <a:pt x="300038" y="368617"/>
                      <a:pt x="300038" y="328613"/>
                    </a:cubicBezTo>
                    <a:cubicBezTo>
                      <a:pt x="258127" y="328613"/>
                      <a:pt x="219075" y="328613"/>
                      <a:pt x="180022" y="328613"/>
                    </a:cubicBezTo>
                    <a:cubicBezTo>
                      <a:pt x="180022" y="370522"/>
                      <a:pt x="180022" y="408622"/>
                      <a:pt x="180022" y="448627"/>
                    </a:cubicBezTo>
                    <a:cubicBezTo>
                      <a:pt x="220980" y="448627"/>
                      <a:pt x="258127" y="448627"/>
                      <a:pt x="300038" y="448627"/>
                    </a:cubicBezTo>
                    <a:close/>
                    <a:moveTo>
                      <a:pt x="146685" y="299085"/>
                    </a:moveTo>
                    <a:cubicBezTo>
                      <a:pt x="146685" y="256222"/>
                      <a:pt x="146685" y="218122"/>
                      <a:pt x="146685" y="181927"/>
                    </a:cubicBezTo>
                    <a:cubicBezTo>
                      <a:pt x="103822" y="181927"/>
                      <a:pt x="65722" y="181927"/>
                      <a:pt x="27622" y="181927"/>
                    </a:cubicBezTo>
                    <a:cubicBezTo>
                      <a:pt x="27622" y="222885"/>
                      <a:pt x="27622" y="260032"/>
                      <a:pt x="27622" y="299085"/>
                    </a:cubicBezTo>
                    <a:cubicBezTo>
                      <a:pt x="67627" y="299085"/>
                      <a:pt x="104775" y="299085"/>
                      <a:pt x="146685" y="299085"/>
                    </a:cubicBezTo>
                    <a:close/>
                    <a:moveTo>
                      <a:pt x="145732" y="889635"/>
                    </a:moveTo>
                    <a:cubicBezTo>
                      <a:pt x="145732" y="848677"/>
                      <a:pt x="145732" y="810577"/>
                      <a:pt x="145732" y="772477"/>
                    </a:cubicBezTo>
                    <a:cubicBezTo>
                      <a:pt x="103822" y="772477"/>
                      <a:pt x="66675" y="772477"/>
                      <a:pt x="28575" y="772477"/>
                    </a:cubicBezTo>
                    <a:cubicBezTo>
                      <a:pt x="28575" y="813435"/>
                      <a:pt x="28575" y="851535"/>
                      <a:pt x="28575" y="889635"/>
                    </a:cubicBezTo>
                    <a:cubicBezTo>
                      <a:pt x="70485" y="889635"/>
                      <a:pt x="107632" y="889635"/>
                      <a:pt x="145732" y="889635"/>
                    </a:cubicBezTo>
                    <a:close/>
                    <a:moveTo>
                      <a:pt x="179070" y="889635"/>
                    </a:moveTo>
                    <a:cubicBezTo>
                      <a:pt x="220027" y="889635"/>
                      <a:pt x="258127" y="889635"/>
                      <a:pt x="298132" y="889635"/>
                    </a:cubicBezTo>
                    <a:cubicBezTo>
                      <a:pt x="298132" y="848677"/>
                      <a:pt x="298132" y="810577"/>
                      <a:pt x="298132" y="772477"/>
                    </a:cubicBezTo>
                    <a:cubicBezTo>
                      <a:pt x="256222" y="772477"/>
                      <a:pt x="219075" y="772477"/>
                      <a:pt x="179070" y="772477"/>
                    </a:cubicBezTo>
                    <a:cubicBezTo>
                      <a:pt x="179070" y="812482"/>
                      <a:pt x="179070" y="849630"/>
                      <a:pt x="179070" y="889635"/>
                    </a:cubicBezTo>
                    <a:close/>
                    <a:moveTo>
                      <a:pt x="450532" y="890588"/>
                    </a:moveTo>
                    <a:cubicBezTo>
                      <a:pt x="450532" y="849630"/>
                      <a:pt x="450532" y="811530"/>
                      <a:pt x="450532" y="771525"/>
                    </a:cubicBezTo>
                    <a:cubicBezTo>
                      <a:pt x="409575" y="771525"/>
                      <a:pt x="372427" y="771525"/>
                      <a:pt x="331470" y="771525"/>
                    </a:cubicBezTo>
                    <a:cubicBezTo>
                      <a:pt x="331470" y="811530"/>
                      <a:pt x="331470" y="850582"/>
                      <a:pt x="331470" y="890588"/>
                    </a:cubicBezTo>
                    <a:cubicBezTo>
                      <a:pt x="372427" y="890588"/>
                      <a:pt x="410527" y="890588"/>
                      <a:pt x="450532" y="890588"/>
                    </a:cubicBezTo>
                    <a:close/>
                    <a:moveTo>
                      <a:pt x="298132" y="1370648"/>
                    </a:moveTo>
                    <a:cubicBezTo>
                      <a:pt x="257175" y="1370648"/>
                      <a:pt x="218122" y="1370648"/>
                      <a:pt x="180022" y="1370648"/>
                    </a:cubicBezTo>
                    <a:cubicBezTo>
                      <a:pt x="180022" y="1410653"/>
                      <a:pt x="180022" y="1447800"/>
                      <a:pt x="180022" y="1486853"/>
                    </a:cubicBezTo>
                    <a:cubicBezTo>
                      <a:pt x="220980" y="1486853"/>
                      <a:pt x="257175" y="1486853"/>
                      <a:pt x="298132" y="1486853"/>
                    </a:cubicBezTo>
                    <a:cubicBezTo>
                      <a:pt x="298132" y="1447800"/>
                      <a:pt x="298132" y="1411605"/>
                      <a:pt x="298132" y="1370648"/>
                    </a:cubicBezTo>
                    <a:close/>
                    <a:moveTo>
                      <a:pt x="299085" y="1632585"/>
                    </a:moveTo>
                    <a:cubicBezTo>
                      <a:pt x="299085" y="1590675"/>
                      <a:pt x="299085" y="1553528"/>
                      <a:pt x="299085" y="1516380"/>
                    </a:cubicBezTo>
                    <a:cubicBezTo>
                      <a:pt x="258127" y="1516380"/>
                      <a:pt x="219075" y="1516380"/>
                      <a:pt x="179070" y="1516380"/>
                    </a:cubicBezTo>
                    <a:cubicBezTo>
                      <a:pt x="179070" y="1557338"/>
                      <a:pt x="179070" y="1594485"/>
                      <a:pt x="179070" y="1632585"/>
                    </a:cubicBezTo>
                    <a:cubicBezTo>
                      <a:pt x="219075" y="1632585"/>
                      <a:pt x="256222" y="1632585"/>
                      <a:pt x="299085" y="1632585"/>
                    </a:cubicBezTo>
                    <a:close/>
                    <a:moveTo>
                      <a:pt x="146685" y="1370648"/>
                    </a:moveTo>
                    <a:cubicBezTo>
                      <a:pt x="104775" y="1370648"/>
                      <a:pt x="65722" y="1370648"/>
                      <a:pt x="28575" y="1370648"/>
                    </a:cubicBezTo>
                    <a:cubicBezTo>
                      <a:pt x="28575" y="1410653"/>
                      <a:pt x="28575" y="1447800"/>
                      <a:pt x="28575" y="1486853"/>
                    </a:cubicBezTo>
                    <a:cubicBezTo>
                      <a:pt x="69532" y="1486853"/>
                      <a:pt x="106680" y="1486853"/>
                      <a:pt x="146685" y="1486853"/>
                    </a:cubicBezTo>
                    <a:cubicBezTo>
                      <a:pt x="146685" y="1447800"/>
                      <a:pt x="146685" y="1410653"/>
                      <a:pt x="146685" y="1370648"/>
                    </a:cubicBezTo>
                    <a:close/>
                    <a:moveTo>
                      <a:pt x="449580" y="1631632"/>
                    </a:moveTo>
                    <a:cubicBezTo>
                      <a:pt x="449580" y="1591628"/>
                      <a:pt x="449580" y="1553528"/>
                      <a:pt x="449580" y="1514475"/>
                    </a:cubicBezTo>
                    <a:cubicBezTo>
                      <a:pt x="409575" y="1514475"/>
                      <a:pt x="372427" y="1514475"/>
                      <a:pt x="332422" y="1514475"/>
                    </a:cubicBezTo>
                    <a:cubicBezTo>
                      <a:pt x="332422" y="1554480"/>
                      <a:pt x="332422" y="1592580"/>
                      <a:pt x="332422" y="1631632"/>
                    </a:cubicBezTo>
                    <a:cubicBezTo>
                      <a:pt x="373380" y="1631632"/>
                      <a:pt x="410527" y="1631632"/>
                      <a:pt x="449580" y="1631632"/>
                    </a:cubicBezTo>
                    <a:close/>
                  </a:path>
                </a:pathLst>
              </a:custGeom>
              <a:solidFill>
                <a:srgbClr val="48DCE2">
                  <a:lumMod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400" kern="0" dirty="0" smtClea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56" name="Freeform: Shape 198">
                <a:extLst>
                  <a:ext uri="{FF2B5EF4-FFF2-40B4-BE49-F238E27FC236}">
                    <a16:creationId xmlns="" xmlns:a16="http://schemas.microsoft.com/office/drawing/2014/main" id="{E8624DCA-2BD8-4952-AC4D-60B6C2D8EF1F}"/>
                  </a:ext>
                </a:extLst>
              </p:cNvPr>
              <p:cNvSpPr/>
              <p:nvPr/>
            </p:nvSpPr>
            <p:spPr>
              <a:xfrm>
                <a:off x="5647753" y="1778275"/>
                <a:ext cx="565541" cy="1976576"/>
              </a:xfrm>
              <a:custGeom>
                <a:avLst/>
                <a:gdLst>
                  <a:gd name="connsiteX0" fmla="*/ 335796 w 565541"/>
                  <a:gd name="connsiteY0" fmla="*/ 1531565 h 1976576"/>
                  <a:gd name="connsiteX1" fmla="*/ 335796 w 565541"/>
                  <a:gd name="connsiteY1" fmla="*/ 1585857 h 1976576"/>
                  <a:gd name="connsiteX2" fmla="*/ 441823 w 565541"/>
                  <a:gd name="connsiteY2" fmla="*/ 1585857 h 1976576"/>
                  <a:gd name="connsiteX3" fmla="*/ 441823 w 565541"/>
                  <a:gd name="connsiteY3" fmla="*/ 1531565 h 1976576"/>
                  <a:gd name="connsiteX4" fmla="*/ 123718 w 565541"/>
                  <a:gd name="connsiteY4" fmla="*/ 1526871 h 1976576"/>
                  <a:gd name="connsiteX5" fmla="*/ 123718 w 565541"/>
                  <a:gd name="connsiteY5" fmla="*/ 1581163 h 1976576"/>
                  <a:gd name="connsiteX6" fmla="*/ 229745 w 565541"/>
                  <a:gd name="connsiteY6" fmla="*/ 1581163 h 1976576"/>
                  <a:gd name="connsiteX7" fmla="*/ 229745 w 565541"/>
                  <a:gd name="connsiteY7" fmla="*/ 1526871 h 1976576"/>
                  <a:gd name="connsiteX8" fmla="*/ 335796 w 565541"/>
                  <a:gd name="connsiteY8" fmla="*/ 1409581 h 1976576"/>
                  <a:gd name="connsiteX9" fmla="*/ 335796 w 565541"/>
                  <a:gd name="connsiteY9" fmla="*/ 1463873 h 1976576"/>
                  <a:gd name="connsiteX10" fmla="*/ 441823 w 565541"/>
                  <a:gd name="connsiteY10" fmla="*/ 1463873 h 1976576"/>
                  <a:gd name="connsiteX11" fmla="*/ 441823 w 565541"/>
                  <a:gd name="connsiteY11" fmla="*/ 1409581 h 1976576"/>
                  <a:gd name="connsiteX12" fmla="*/ 123718 w 565541"/>
                  <a:gd name="connsiteY12" fmla="*/ 1404887 h 1976576"/>
                  <a:gd name="connsiteX13" fmla="*/ 123718 w 565541"/>
                  <a:gd name="connsiteY13" fmla="*/ 1459180 h 1976576"/>
                  <a:gd name="connsiteX14" fmla="*/ 229745 w 565541"/>
                  <a:gd name="connsiteY14" fmla="*/ 1459180 h 1976576"/>
                  <a:gd name="connsiteX15" fmla="*/ 229745 w 565541"/>
                  <a:gd name="connsiteY15" fmla="*/ 1404887 h 1976576"/>
                  <a:gd name="connsiteX16" fmla="*/ 335796 w 565541"/>
                  <a:gd name="connsiteY16" fmla="*/ 1287599 h 1976576"/>
                  <a:gd name="connsiteX17" fmla="*/ 335796 w 565541"/>
                  <a:gd name="connsiteY17" fmla="*/ 1341892 h 1976576"/>
                  <a:gd name="connsiteX18" fmla="*/ 441823 w 565541"/>
                  <a:gd name="connsiteY18" fmla="*/ 1341892 h 1976576"/>
                  <a:gd name="connsiteX19" fmla="*/ 441823 w 565541"/>
                  <a:gd name="connsiteY19" fmla="*/ 1287599 h 1976576"/>
                  <a:gd name="connsiteX20" fmla="*/ 123718 w 565541"/>
                  <a:gd name="connsiteY20" fmla="*/ 1282905 h 1976576"/>
                  <a:gd name="connsiteX21" fmla="*/ 123718 w 565541"/>
                  <a:gd name="connsiteY21" fmla="*/ 1337198 h 1976576"/>
                  <a:gd name="connsiteX22" fmla="*/ 229745 w 565541"/>
                  <a:gd name="connsiteY22" fmla="*/ 1337198 h 1976576"/>
                  <a:gd name="connsiteX23" fmla="*/ 229745 w 565541"/>
                  <a:gd name="connsiteY23" fmla="*/ 1282905 h 1976576"/>
                  <a:gd name="connsiteX24" fmla="*/ 335796 w 565541"/>
                  <a:gd name="connsiteY24" fmla="*/ 1165617 h 1976576"/>
                  <a:gd name="connsiteX25" fmla="*/ 335796 w 565541"/>
                  <a:gd name="connsiteY25" fmla="*/ 1219910 h 1976576"/>
                  <a:gd name="connsiteX26" fmla="*/ 441823 w 565541"/>
                  <a:gd name="connsiteY26" fmla="*/ 1219910 h 1976576"/>
                  <a:gd name="connsiteX27" fmla="*/ 441823 w 565541"/>
                  <a:gd name="connsiteY27" fmla="*/ 1165617 h 1976576"/>
                  <a:gd name="connsiteX28" fmla="*/ 123718 w 565541"/>
                  <a:gd name="connsiteY28" fmla="*/ 1160924 h 1976576"/>
                  <a:gd name="connsiteX29" fmla="*/ 123718 w 565541"/>
                  <a:gd name="connsiteY29" fmla="*/ 1215216 h 1976576"/>
                  <a:gd name="connsiteX30" fmla="*/ 229745 w 565541"/>
                  <a:gd name="connsiteY30" fmla="*/ 1215216 h 1976576"/>
                  <a:gd name="connsiteX31" fmla="*/ 229745 w 565541"/>
                  <a:gd name="connsiteY31" fmla="*/ 1160924 h 1976576"/>
                  <a:gd name="connsiteX32" fmla="*/ 335796 w 565541"/>
                  <a:gd name="connsiteY32" fmla="*/ 1043636 h 1976576"/>
                  <a:gd name="connsiteX33" fmla="*/ 335796 w 565541"/>
                  <a:gd name="connsiteY33" fmla="*/ 1097928 h 1976576"/>
                  <a:gd name="connsiteX34" fmla="*/ 441823 w 565541"/>
                  <a:gd name="connsiteY34" fmla="*/ 1097928 h 1976576"/>
                  <a:gd name="connsiteX35" fmla="*/ 441823 w 565541"/>
                  <a:gd name="connsiteY35" fmla="*/ 1043636 h 1976576"/>
                  <a:gd name="connsiteX36" fmla="*/ 123718 w 565541"/>
                  <a:gd name="connsiteY36" fmla="*/ 1038942 h 1976576"/>
                  <a:gd name="connsiteX37" fmla="*/ 123718 w 565541"/>
                  <a:gd name="connsiteY37" fmla="*/ 1093234 h 1976576"/>
                  <a:gd name="connsiteX38" fmla="*/ 229745 w 565541"/>
                  <a:gd name="connsiteY38" fmla="*/ 1093234 h 1976576"/>
                  <a:gd name="connsiteX39" fmla="*/ 229745 w 565541"/>
                  <a:gd name="connsiteY39" fmla="*/ 1038942 h 1976576"/>
                  <a:gd name="connsiteX40" fmla="*/ 335796 w 565541"/>
                  <a:gd name="connsiteY40" fmla="*/ 921654 h 1976576"/>
                  <a:gd name="connsiteX41" fmla="*/ 335796 w 565541"/>
                  <a:gd name="connsiteY41" fmla="*/ 975946 h 1976576"/>
                  <a:gd name="connsiteX42" fmla="*/ 441823 w 565541"/>
                  <a:gd name="connsiteY42" fmla="*/ 975946 h 1976576"/>
                  <a:gd name="connsiteX43" fmla="*/ 441823 w 565541"/>
                  <a:gd name="connsiteY43" fmla="*/ 921654 h 1976576"/>
                  <a:gd name="connsiteX44" fmla="*/ 123718 w 565541"/>
                  <a:gd name="connsiteY44" fmla="*/ 916960 h 1976576"/>
                  <a:gd name="connsiteX45" fmla="*/ 123718 w 565541"/>
                  <a:gd name="connsiteY45" fmla="*/ 971252 h 1976576"/>
                  <a:gd name="connsiteX46" fmla="*/ 229745 w 565541"/>
                  <a:gd name="connsiteY46" fmla="*/ 971252 h 1976576"/>
                  <a:gd name="connsiteX47" fmla="*/ 229745 w 565541"/>
                  <a:gd name="connsiteY47" fmla="*/ 916960 h 1976576"/>
                  <a:gd name="connsiteX48" fmla="*/ 335796 w 565541"/>
                  <a:gd name="connsiteY48" fmla="*/ 799672 h 1976576"/>
                  <a:gd name="connsiteX49" fmla="*/ 335796 w 565541"/>
                  <a:gd name="connsiteY49" fmla="*/ 853964 h 1976576"/>
                  <a:gd name="connsiteX50" fmla="*/ 441823 w 565541"/>
                  <a:gd name="connsiteY50" fmla="*/ 853964 h 1976576"/>
                  <a:gd name="connsiteX51" fmla="*/ 441823 w 565541"/>
                  <a:gd name="connsiteY51" fmla="*/ 799672 h 1976576"/>
                  <a:gd name="connsiteX52" fmla="*/ 123718 w 565541"/>
                  <a:gd name="connsiteY52" fmla="*/ 794978 h 1976576"/>
                  <a:gd name="connsiteX53" fmla="*/ 123718 w 565541"/>
                  <a:gd name="connsiteY53" fmla="*/ 849270 h 1976576"/>
                  <a:gd name="connsiteX54" fmla="*/ 229745 w 565541"/>
                  <a:gd name="connsiteY54" fmla="*/ 849270 h 1976576"/>
                  <a:gd name="connsiteX55" fmla="*/ 229745 w 565541"/>
                  <a:gd name="connsiteY55" fmla="*/ 794978 h 1976576"/>
                  <a:gd name="connsiteX56" fmla="*/ 335796 w 565541"/>
                  <a:gd name="connsiteY56" fmla="*/ 677690 h 1976576"/>
                  <a:gd name="connsiteX57" fmla="*/ 335796 w 565541"/>
                  <a:gd name="connsiteY57" fmla="*/ 731982 h 1976576"/>
                  <a:gd name="connsiteX58" fmla="*/ 441823 w 565541"/>
                  <a:gd name="connsiteY58" fmla="*/ 731982 h 1976576"/>
                  <a:gd name="connsiteX59" fmla="*/ 441823 w 565541"/>
                  <a:gd name="connsiteY59" fmla="*/ 677690 h 1976576"/>
                  <a:gd name="connsiteX60" fmla="*/ 123718 w 565541"/>
                  <a:gd name="connsiteY60" fmla="*/ 672996 h 1976576"/>
                  <a:gd name="connsiteX61" fmla="*/ 123718 w 565541"/>
                  <a:gd name="connsiteY61" fmla="*/ 727289 h 1976576"/>
                  <a:gd name="connsiteX62" fmla="*/ 229745 w 565541"/>
                  <a:gd name="connsiteY62" fmla="*/ 727289 h 1976576"/>
                  <a:gd name="connsiteX63" fmla="*/ 229745 w 565541"/>
                  <a:gd name="connsiteY63" fmla="*/ 672996 h 1976576"/>
                  <a:gd name="connsiteX64" fmla="*/ 335796 w 565541"/>
                  <a:gd name="connsiteY64" fmla="*/ 555708 h 1976576"/>
                  <a:gd name="connsiteX65" fmla="*/ 335796 w 565541"/>
                  <a:gd name="connsiteY65" fmla="*/ 610000 h 1976576"/>
                  <a:gd name="connsiteX66" fmla="*/ 441823 w 565541"/>
                  <a:gd name="connsiteY66" fmla="*/ 610000 h 1976576"/>
                  <a:gd name="connsiteX67" fmla="*/ 441823 w 565541"/>
                  <a:gd name="connsiteY67" fmla="*/ 555708 h 1976576"/>
                  <a:gd name="connsiteX68" fmla="*/ 123718 w 565541"/>
                  <a:gd name="connsiteY68" fmla="*/ 551014 h 1976576"/>
                  <a:gd name="connsiteX69" fmla="*/ 123718 w 565541"/>
                  <a:gd name="connsiteY69" fmla="*/ 605307 h 1976576"/>
                  <a:gd name="connsiteX70" fmla="*/ 229745 w 565541"/>
                  <a:gd name="connsiteY70" fmla="*/ 605307 h 1976576"/>
                  <a:gd name="connsiteX71" fmla="*/ 229745 w 565541"/>
                  <a:gd name="connsiteY71" fmla="*/ 551014 h 1976576"/>
                  <a:gd name="connsiteX72" fmla="*/ 335796 w 565541"/>
                  <a:gd name="connsiteY72" fmla="*/ 433726 h 1976576"/>
                  <a:gd name="connsiteX73" fmla="*/ 335796 w 565541"/>
                  <a:gd name="connsiteY73" fmla="*/ 488019 h 1976576"/>
                  <a:gd name="connsiteX74" fmla="*/ 441823 w 565541"/>
                  <a:gd name="connsiteY74" fmla="*/ 488019 h 1976576"/>
                  <a:gd name="connsiteX75" fmla="*/ 441823 w 565541"/>
                  <a:gd name="connsiteY75" fmla="*/ 433726 h 1976576"/>
                  <a:gd name="connsiteX76" fmla="*/ 123718 w 565541"/>
                  <a:gd name="connsiteY76" fmla="*/ 429032 h 1976576"/>
                  <a:gd name="connsiteX77" fmla="*/ 123718 w 565541"/>
                  <a:gd name="connsiteY77" fmla="*/ 483325 h 1976576"/>
                  <a:gd name="connsiteX78" fmla="*/ 229745 w 565541"/>
                  <a:gd name="connsiteY78" fmla="*/ 483325 h 1976576"/>
                  <a:gd name="connsiteX79" fmla="*/ 229745 w 565541"/>
                  <a:gd name="connsiteY79" fmla="*/ 429032 h 1976576"/>
                  <a:gd name="connsiteX80" fmla="*/ 244058 w 565541"/>
                  <a:gd name="connsiteY80" fmla="*/ 0 h 1976576"/>
                  <a:gd name="connsiteX81" fmla="*/ 321484 w 565541"/>
                  <a:gd name="connsiteY81" fmla="*/ 0 h 1976576"/>
                  <a:gd name="connsiteX82" fmla="*/ 321484 w 565541"/>
                  <a:gd name="connsiteY82" fmla="*/ 178763 h 1976576"/>
                  <a:gd name="connsiteX83" fmla="*/ 388810 w 565541"/>
                  <a:gd name="connsiteY83" fmla="*/ 178763 h 1976576"/>
                  <a:gd name="connsiteX84" fmla="*/ 388810 w 565541"/>
                  <a:gd name="connsiteY84" fmla="*/ 299617 h 1976576"/>
                  <a:gd name="connsiteX85" fmla="*/ 565541 w 565541"/>
                  <a:gd name="connsiteY85" fmla="*/ 299617 h 1976576"/>
                  <a:gd name="connsiteX86" fmla="*/ 565541 w 565541"/>
                  <a:gd name="connsiteY86" fmla="*/ 1976576 h 1976576"/>
                  <a:gd name="connsiteX87" fmla="*/ 448247 w 565541"/>
                  <a:gd name="connsiteY87" fmla="*/ 1976576 h 1976576"/>
                  <a:gd name="connsiteX88" fmla="*/ 371127 w 565541"/>
                  <a:gd name="connsiteY88" fmla="*/ 1976576 h 1976576"/>
                  <a:gd name="connsiteX89" fmla="*/ 194414 w 565541"/>
                  <a:gd name="connsiteY89" fmla="*/ 1976576 h 1976576"/>
                  <a:gd name="connsiteX90" fmla="*/ 88332 w 565541"/>
                  <a:gd name="connsiteY90" fmla="*/ 1976576 h 1976576"/>
                  <a:gd name="connsiteX91" fmla="*/ 0 w 565541"/>
                  <a:gd name="connsiteY91" fmla="*/ 1976576 h 1976576"/>
                  <a:gd name="connsiteX92" fmla="*/ 0 w 565541"/>
                  <a:gd name="connsiteY92" fmla="*/ 299617 h 1976576"/>
                  <a:gd name="connsiteX93" fmla="*/ 176731 w 565541"/>
                  <a:gd name="connsiteY93" fmla="*/ 299617 h 1976576"/>
                  <a:gd name="connsiteX94" fmla="*/ 176731 w 565541"/>
                  <a:gd name="connsiteY94" fmla="*/ 178763 h 1976576"/>
                  <a:gd name="connsiteX95" fmla="*/ 244058 w 565541"/>
                  <a:gd name="connsiteY95" fmla="*/ 178763 h 1976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565541" h="1976576">
                    <a:moveTo>
                      <a:pt x="335796" y="1531565"/>
                    </a:moveTo>
                    <a:lnTo>
                      <a:pt x="335796" y="1585857"/>
                    </a:lnTo>
                    <a:lnTo>
                      <a:pt x="441823" y="1585857"/>
                    </a:lnTo>
                    <a:lnTo>
                      <a:pt x="441823" y="1531565"/>
                    </a:lnTo>
                    <a:close/>
                    <a:moveTo>
                      <a:pt x="123718" y="1526871"/>
                    </a:moveTo>
                    <a:lnTo>
                      <a:pt x="123718" y="1581163"/>
                    </a:lnTo>
                    <a:lnTo>
                      <a:pt x="229745" y="1581163"/>
                    </a:lnTo>
                    <a:lnTo>
                      <a:pt x="229745" y="1526871"/>
                    </a:lnTo>
                    <a:close/>
                    <a:moveTo>
                      <a:pt x="335796" y="1409581"/>
                    </a:moveTo>
                    <a:lnTo>
                      <a:pt x="335796" y="1463873"/>
                    </a:lnTo>
                    <a:lnTo>
                      <a:pt x="441823" y="1463873"/>
                    </a:lnTo>
                    <a:lnTo>
                      <a:pt x="441823" y="1409581"/>
                    </a:lnTo>
                    <a:close/>
                    <a:moveTo>
                      <a:pt x="123718" y="1404887"/>
                    </a:moveTo>
                    <a:lnTo>
                      <a:pt x="123718" y="1459180"/>
                    </a:lnTo>
                    <a:lnTo>
                      <a:pt x="229745" y="1459180"/>
                    </a:lnTo>
                    <a:lnTo>
                      <a:pt x="229745" y="1404887"/>
                    </a:lnTo>
                    <a:close/>
                    <a:moveTo>
                      <a:pt x="335796" y="1287599"/>
                    </a:moveTo>
                    <a:lnTo>
                      <a:pt x="335796" y="1341892"/>
                    </a:lnTo>
                    <a:lnTo>
                      <a:pt x="441823" y="1341892"/>
                    </a:lnTo>
                    <a:lnTo>
                      <a:pt x="441823" y="1287599"/>
                    </a:lnTo>
                    <a:close/>
                    <a:moveTo>
                      <a:pt x="123718" y="1282905"/>
                    </a:moveTo>
                    <a:lnTo>
                      <a:pt x="123718" y="1337198"/>
                    </a:lnTo>
                    <a:lnTo>
                      <a:pt x="229745" y="1337198"/>
                    </a:lnTo>
                    <a:lnTo>
                      <a:pt x="229745" y="1282905"/>
                    </a:lnTo>
                    <a:close/>
                    <a:moveTo>
                      <a:pt x="335796" y="1165617"/>
                    </a:moveTo>
                    <a:lnTo>
                      <a:pt x="335796" y="1219910"/>
                    </a:lnTo>
                    <a:lnTo>
                      <a:pt x="441823" y="1219910"/>
                    </a:lnTo>
                    <a:lnTo>
                      <a:pt x="441823" y="1165617"/>
                    </a:lnTo>
                    <a:close/>
                    <a:moveTo>
                      <a:pt x="123718" y="1160924"/>
                    </a:moveTo>
                    <a:lnTo>
                      <a:pt x="123718" y="1215216"/>
                    </a:lnTo>
                    <a:lnTo>
                      <a:pt x="229745" y="1215216"/>
                    </a:lnTo>
                    <a:lnTo>
                      <a:pt x="229745" y="1160924"/>
                    </a:lnTo>
                    <a:close/>
                    <a:moveTo>
                      <a:pt x="335796" y="1043636"/>
                    </a:moveTo>
                    <a:lnTo>
                      <a:pt x="335796" y="1097928"/>
                    </a:lnTo>
                    <a:lnTo>
                      <a:pt x="441823" y="1097928"/>
                    </a:lnTo>
                    <a:lnTo>
                      <a:pt x="441823" y="1043636"/>
                    </a:lnTo>
                    <a:close/>
                    <a:moveTo>
                      <a:pt x="123718" y="1038942"/>
                    </a:moveTo>
                    <a:lnTo>
                      <a:pt x="123718" y="1093234"/>
                    </a:lnTo>
                    <a:lnTo>
                      <a:pt x="229745" y="1093234"/>
                    </a:lnTo>
                    <a:lnTo>
                      <a:pt x="229745" y="1038942"/>
                    </a:lnTo>
                    <a:close/>
                    <a:moveTo>
                      <a:pt x="335796" y="921654"/>
                    </a:moveTo>
                    <a:lnTo>
                      <a:pt x="335796" y="975946"/>
                    </a:lnTo>
                    <a:lnTo>
                      <a:pt x="441823" y="975946"/>
                    </a:lnTo>
                    <a:lnTo>
                      <a:pt x="441823" y="921654"/>
                    </a:lnTo>
                    <a:close/>
                    <a:moveTo>
                      <a:pt x="123718" y="916960"/>
                    </a:moveTo>
                    <a:lnTo>
                      <a:pt x="123718" y="971252"/>
                    </a:lnTo>
                    <a:lnTo>
                      <a:pt x="229745" y="971252"/>
                    </a:lnTo>
                    <a:lnTo>
                      <a:pt x="229745" y="916960"/>
                    </a:lnTo>
                    <a:close/>
                    <a:moveTo>
                      <a:pt x="335796" y="799672"/>
                    </a:moveTo>
                    <a:lnTo>
                      <a:pt x="335796" y="853964"/>
                    </a:lnTo>
                    <a:lnTo>
                      <a:pt x="441823" y="853964"/>
                    </a:lnTo>
                    <a:lnTo>
                      <a:pt x="441823" y="799672"/>
                    </a:lnTo>
                    <a:close/>
                    <a:moveTo>
                      <a:pt x="123718" y="794978"/>
                    </a:moveTo>
                    <a:lnTo>
                      <a:pt x="123718" y="849270"/>
                    </a:lnTo>
                    <a:lnTo>
                      <a:pt x="229745" y="849270"/>
                    </a:lnTo>
                    <a:lnTo>
                      <a:pt x="229745" y="794978"/>
                    </a:lnTo>
                    <a:close/>
                    <a:moveTo>
                      <a:pt x="335796" y="677690"/>
                    </a:moveTo>
                    <a:lnTo>
                      <a:pt x="335796" y="731982"/>
                    </a:lnTo>
                    <a:lnTo>
                      <a:pt x="441823" y="731982"/>
                    </a:lnTo>
                    <a:lnTo>
                      <a:pt x="441823" y="677690"/>
                    </a:lnTo>
                    <a:close/>
                    <a:moveTo>
                      <a:pt x="123718" y="672996"/>
                    </a:moveTo>
                    <a:lnTo>
                      <a:pt x="123718" y="727289"/>
                    </a:lnTo>
                    <a:lnTo>
                      <a:pt x="229745" y="727289"/>
                    </a:lnTo>
                    <a:lnTo>
                      <a:pt x="229745" y="672996"/>
                    </a:lnTo>
                    <a:close/>
                    <a:moveTo>
                      <a:pt x="335796" y="555708"/>
                    </a:moveTo>
                    <a:lnTo>
                      <a:pt x="335796" y="610000"/>
                    </a:lnTo>
                    <a:lnTo>
                      <a:pt x="441823" y="610000"/>
                    </a:lnTo>
                    <a:lnTo>
                      <a:pt x="441823" y="555708"/>
                    </a:lnTo>
                    <a:close/>
                    <a:moveTo>
                      <a:pt x="123718" y="551014"/>
                    </a:moveTo>
                    <a:lnTo>
                      <a:pt x="123718" y="605307"/>
                    </a:lnTo>
                    <a:lnTo>
                      <a:pt x="229745" y="605307"/>
                    </a:lnTo>
                    <a:lnTo>
                      <a:pt x="229745" y="551014"/>
                    </a:lnTo>
                    <a:close/>
                    <a:moveTo>
                      <a:pt x="335796" y="433726"/>
                    </a:moveTo>
                    <a:lnTo>
                      <a:pt x="335796" y="488019"/>
                    </a:lnTo>
                    <a:lnTo>
                      <a:pt x="441823" y="488019"/>
                    </a:lnTo>
                    <a:lnTo>
                      <a:pt x="441823" y="433726"/>
                    </a:lnTo>
                    <a:close/>
                    <a:moveTo>
                      <a:pt x="123718" y="429032"/>
                    </a:moveTo>
                    <a:lnTo>
                      <a:pt x="123718" y="483325"/>
                    </a:lnTo>
                    <a:lnTo>
                      <a:pt x="229745" y="483325"/>
                    </a:lnTo>
                    <a:lnTo>
                      <a:pt x="229745" y="429032"/>
                    </a:lnTo>
                    <a:close/>
                    <a:moveTo>
                      <a:pt x="244058" y="0"/>
                    </a:moveTo>
                    <a:lnTo>
                      <a:pt x="321484" y="0"/>
                    </a:lnTo>
                    <a:lnTo>
                      <a:pt x="321484" y="178763"/>
                    </a:lnTo>
                    <a:lnTo>
                      <a:pt x="388810" y="178763"/>
                    </a:lnTo>
                    <a:lnTo>
                      <a:pt x="388810" y="299617"/>
                    </a:lnTo>
                    <a:lnTo>
                      <a:pt x="565541" y="299617"/>
                    </a:lnTo>
                    <a:lnTo>
                      <a:pt x="565541" y="1976576"/>
                    </a:lnTo>
                    <a:lnTo>
                      <a:pt x="448247" y="1976576"/>
                    </a:lnTo>
                    <a:lnTo>
                      <a:pt x="371127" y="1976576"/>
                    </a:lnTo>
                    <a:lnTo>
                      <a:pt x="194414" y="1976576"/>
                    </a:lnTo>
                    <a:lnTo>
                      <a:pt x="88332" y="1976576"/>
                    </a:lnTo>
                    <a:lnTo>
                      <a:pt x="0" y="1976576"/>
                    </a:lnTo>
                    <a:lnTo>
                      <a:pt x="0" y="299617"/>
                    </a:lnTo>
                    <a:lnTo>
                      <a:pt x="176731" y="299617"/>
                    </a:lnTo>
                    <a:lnTo>
                      <a:pt x="176731" y="178763"/>
                    </a:lnTo>
                    <a:lnTo>
                      <a:pt x="244058" y="178763"/>
                    </a:lnTo>
                    <a:close/>
                  </a:path>
                </a:pathLst>
              </a:custGeom>
              <a:solidFill>
                <a:srgbClr val="00B05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ko-KR" altLang="en-US" sz="2000" kern="0" dirty="0" smtClea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57" name="Freeform: Shape 10">
                <a:extLst>
                  <a:ext uri="{FF2B5EF4-FFF2-40B4-BE49-F238E27FC236}">
                    <a16:creationId xmlns="" xmlns:a16="http://schemas.microsoft.com/office/drawing/2014/main" id="{06188657-2466-4C2D-BF76-EB45EDF28F3E}"/>
                  </a:ext>
                </a:extLst>
              </p:cNvPr>
              <p:cNvSpPr/>
              <p:nvPr/>
            </p:nvSpPr>
            <p:spPr>
              <a:xfrm>
                <a:off x="6261477" y="1635492"/>
                <a:ext cx="373686" cy="2119359"/>
              </a:xfrm>
              <a:custGeom>
                <a:avLst/>
                <a:gdLst>
                  <a:gd name="connsiteX0" fmla="*/ 335280 w 333375"/>
                  <a:gd name="connsiteY0" fmla="*/ 3057525 h 3057525"/>
                  <a:gd name="connsiteX1" fmla="*/ 0 w 333375"/>
                  <a:gd name="connsiteY1" fmla="*/ 3057525 h 3057525"/>
                  <a:gd name="connsiteX2" fmla="*/ 0 w 333375"/>
                  <a:gd name="connsiteY2" fmla="*/ 0 h 3057525"/>
                  <a:gd name="connsiteX3" fmla="*/ 203835 w 333375"/>
                  <a:gd name="connsiteY3" fmla="*/ 217170 h 3057525"/>
                  <a:gd name="connsiteX4" fmla="*/ 218123 w 333375"/>
                  <a:gd name="connsiteY4" fmla="*/ 269558 h 3057525"/>
                  <a:gd name="connsiteX5" fmla="*/ 218123 w 333375"/>
                  <a:gd name="connsiteY5" fmla="*/ 788670 h 3057525"/>
                  <a:gd name="connsiteX6" fmla="*/ 252413 w 333375"/>
                  <a:gd name="connsiteY6" fmla="*/ 870585 h 3057525"/>
                  <a:gd name="connsiteX7" fmla="*/ 338138 w 333375"/>
                  <a:gd name="connsiteY7" fmla="*/ 1076325 h 3057525"/>
                  <a:gd name="connsiteX8" fmla="*/ 336233 w 333375"/>
                  <a:gd name="connsiteY8" fmla="*/ 2999423 h 3057525"/>
                  <a:gd name="connsiteX9" fmla="*/ 335280 w 333375"/>
                  <a:gd name="connsiteY9" fmla="*/ 3057525 h 3057525"/>
                  <a:gd name="connsiteX10" fmla="*/ 58103 w 333375"/>
                  <a:gd name="connsiteY10" fmla="*/ 796290 h 3057525"/>
                  <a:gd name="connsiteX11" fmla="*/ 35243 w 333375"/>
                  <a:gd name="connsiteY11" fmla="*/ 755333 h 3057525"/>
                  <a:gd name="connsiteX12" fmla="*/ 20955 w 333375"/>
                  <a:gd name="connsiteY12" fmla="*/ 768668 h 3057525"/>
                  <a:gd name="connsiteX13" fmla="*/ 20955 w 333375"/>
                  <a:gd name="connsiteY13" fmla="*/ 1084898 h 3057525"/>
                  <a:gd name="connsiteX14" fmla="*/ 91440 w 333375"/>
                  <a:gd name="connsiteY14" fmla="*/ 1084898 h 3057525"/>
                  <a:gd name="connsiteX15" fmla="*/ 90488 w 333375"/>
                  <a:gd name="connsiteY15" fmla="*/ 832485 h 3057525"/>
                  <a:gd name="connsiteX16" fmla="*/ 61913 w 333375"/>
                  <a:gd name="connsiteY16" fmla="*/ 801053 h 3057525"/>
                  <a:gd name="connsiteX17" fmla="*/ 58103 w 333375"/>
                  <a:gd name="connsiteY17" fmla="*/ 796290 h 3057525"/>
                  <a:gd name="connsiteX18" fmla="*/ 158115 w 333375"/>
                  <a:gd name="connsiteY18" fmla="*/ 875347 h 3057525"/>
                  <a:gd name="connsiteX19" fmla="*/ 159068 w 333375"/>
                  <a:gd name="connsiteY19" fmla="*/ 877253 h 3057525"/>
                  <a:gd name="connsiteX20" fmla="*/ 116205 w 333375"/>
                  <a:gd name="connsiteY20" fmla="*/ 837247 h 3057525"/>
                  <a:gd name="connsiteX21" fmla="*/ 116205 w 333375"/>
                  <a:gd name="connsiteY21" fmla="*/ 1084898 h 3057525"/>
                  <a:gd name="connsiteX22" fmla="*/ 215265 w 333375"/>
                  <a:gd name="connsiteY22" fmla="*/ 1084898 h 3057525"/>
                  <a:gd name="connsiteX23" fmla="*/ 216218 w 333375"/>
                  <a:gd name="connsiteY23" fmla="*/ 975360 h 3057525"/>
                  <a:gd name="connsiteX24" fmla="*/ 158115 w 333375"/>
                  <a:gd name="connsiteY24" fmla="*/ 875347 h 3057525"/>
                  <a:gd name="connsiteX25" fmla="*/ 215265 w 333375"/>
                  <a:gd name="connsiteY25" fmla="*/ 1448753 h 3057525"/>
                  <a:gd name="connsiteX26" fmla="*/ 215265 w 333375"/>
                  <a:gd name="connsiteY26" fmla="*/ 1114425 h 3057525"/>
                  <a:gd name="connsiteX27" fmla="*/ 118110 w 333375"/>
                  <a:gd name="connsiteY27" fmla="*/ 1114425 h 3057525"/>
                  <a:gd name="connsiteX28" fmla="*/ 118110 w 333375"/>
                  <a:gd name="connsiteY28" fmla="*/ 1448753 h 3057525"/>
                  <a:gd name="connsiteX29" fmla="*/ 215265 w 333375"/>
                  <a:gd name="connsiteY29" fmla="*/ 1448753 h 3057525"/>
                  <a:gd name="connsiteX30" fmla="*/ 236220 w 333375"/>
                  <a:gd name="connsiteY30" fmla="*/ 1113473 h 3057525"/>
                  <a:gd name="connsiteX31" fmla="*/ 236220 w 333375"/>
                  <a:gd name="connsiteY31" fmla="*/ 1447800 h 3057525"/>
                  <a:gd name="connsiteX32" fmla="*/ 313373 w 333375"/>
                  <a:gd name="connsiteY32" fmla="*/ 1447800 h 3057525"/>
                  <a:gd name="connsiteX33" fmla="*/ 313373 w 333375"/>
                  <a:gd name="connsiteY33" fmla="*/ 1113473 h 3057525"/>
                  <a:gd name="connsiteX34" fmla="*/ 236220 w 333375"/>
                  <a:gd name="connsiteY34" fmla="*/ 1113473 h 3057525"/>
                  <a:gd name="connsiteX35" fmla="*/ 89535 w 333375"/>
                  <a:gd name="connsiteY35" fmla="*/ 1448753 h 3057525"/>
                  <a:gd name="connsiteX36" fmla="*/ 89535 w 333375"/>
                  <a:gd name="connsiteY36" fmla="*/ 1114425 h 3057525"/>
                  <a:gd name="connsiteX37" fmla="*/ 20003 w 333375"/>
                  <a:gd name="connsiteY37" fmla="*/ 1114425 h 3057525"/>
                  <a:gd name="connsiteX38" fmla="*/ 20003 w 333375"/>
                  <a:gd name="connsiteY38" fmla="*/ 1448753 h 3057525"/>
                  <a:gd name="connsiteX39" fmla="*/ 89535 w 333375"/>
                  <a:gd name="connsiteY39" fmla="*/ 1448753 h 3057525"/>
                  <a:gd name="connsiteX40" fmla="*/ 135255 w 333375"/>
                  <a:gd name="connsiteY40" fmla="*/ 742950 h 3057525"/>
                  <a:gd name="connsiteX41" fmla="*/ 135255 w 333375"/>
                  <a:gd name="connsiteY41" fmla="*/ 366713 h 3057525"/>
                  <a:gd name="connsiteX42" fmla="*/ 76200 w 333375"/>
                  <a:gd name="connsiteY42" fmla="*/ 366713 h 3057525"/>
                  <a:gd name="connsiteX43" fmla="*/ 75248 w 333375"/>
                  <a:gd name="connsiteY43" fmla="*/ 633413 h 3057525"/>
                  <a:gd name="connsiteX44" fmla="*/ 135255 w 333375"/>
                  <a:gd name="connsiteY44" fmla="*/ 742950 h 3057525"/>
                  <a:gd name="connsiteX45" fmla="*/ 154305 w 333375"/>
                  <a:gd name="connsiteY45" fmla="*/ 367665 h 3057525"/>
                  <a:gd name="connsiteX46" fmla="*/ 156210 w 333375"/>
                  <a:gd name="connsiteY46" fmla="*/ 753428 h 3057525"/>
                  <a:gd name="connsiteX47" fmla="*/ 194310 w 333375"/>
                  <a:gd name="connsiteY47" fmla="*/ 816293 h 3057525"/>
                  <a:gd name="connsiteX48" fmla="*/ 194310 w 333375"/>
                  <a:gd name="connsiteY48" fmla="*/ 365760 h 3057525"/>
                  <a:gd name="connsiteX49" fmla="*/ 154305 w 333375"/>
                  <a:gd name="connsiteY49" fmla="*/ 367665 h 3057525"/>
                  <a:gd name="connsiteX50" fmla="*/ 176213 w 333375"/>
                  <a:gd name="connsiteY50" fmla="*/ 1740218 h 3057525"/>
                  <a:gd name="connsiteX51" fmla="*/ 20955 w 333375"/>
                  <a:gd name="connsiteY51" fmla="*/ 1740218 h 3057525"/>
                  <a:gd name="connsiteX52" fmla="*/ 20955 w 333375"/>
                  <a:gd name="connsiteY52" fmla="*/ 1836420 h 3057525"/>
                  <a:gd name="connsiteX53" fmla="*/ 176213 w 333375"/>
                  <a:gd name="connsiteY53" fmla="*/ 1836420 h 3057525"/>
                  <a:gd name="connsiteX54" fmla="*/ 176213 w 333375"/>
                  <a:gd name="connsiteY54" fmla="*/ 1740218 h 3057525"/>
                  <a:gd name="connsiteX55" fmla="*/ 155258 w 333375"/>
                  <a:gd name="connsiteY55" fmla="*/ 1618298 h 3057525"/>
                  <a:gd name="connsiteX56" fmla="*/ 155258 w 333375"/>
                  <a:gd name="connsiteY56" fmla="*/ 1713548 h 3057525"/>
                  <a:gd name="connsiteX57" fmla="*/ 311468 w 333375"/>
                  <a:gd name="connsiteY57" fmla="*/ 1713548 h 3057525"/>
                  <a:gd name="connsiteX58" fmla="*/ 311468 w 333375"/>
                  <a:gd name="connsiteY58" fmla="*/ 1618298 h 3057525"/>
                  <a:gd name="connsiteX59" fmla="*/ 155258 w 333375"/>
                  <a:gd name="connsiteY59" fmla="*/ 1618298 h 3057525"/>
                  <a:gd name="connsiteX60" fmla="*/ 87630 w 333375"/>
                  <a:gd name="connsiteY60" fmla="*/ 1595438 h 3057525"/>
                  <a:gd name="connsiteX61" fmla="*/ 243840 w 333375"/>
                  <a:gd name="connsiteY61" fmla="*/ 1595438 h 3057525"/>
                  <a:gd name="connsiteX62" fmla="*/ 243840 w 333375"/>
                  <a:gd name="connsiteY62" fmla="*/ 1501140 h 3057525"/>
                  <a:gd name="connsiteX63" fmla="*/ 87630 w 333375"/>
                  <a:gd name="connsiteY63" fmla="*/ 1501140 h 3057525"/>
                  <a:gd name="connsiteX64" fmla="*/ 87630 w 333375"/>
                  <a:gd name="connsiteY64" fmla="*/ 1595438 h 3057525"/>
                  <a:gd name="connsiteX65" fmla="*/ 244793 w 333375"/>
                  <a:gd name="connsiteY65" fmla="*/ 1861185 h 3057525"/>
                  <a:gd name="connsiteX66" fmla="*/ 89535 w 333375"/>
                  <a:gd name="connsiteY66" fmla="*/ 1861185 h 3057525"/>
                  <a:gd name="connsiteX67" fmla="*/ 89535 w 333375"/>
                  <a:gd name="connsiteY67" fmla="*/ 1955482 h 3057525"/>
                  <a:gd name="connsiteX68" fmla="*/ 244793 w 333375"/>
                  <a:gd name="connsiteY68" fmla="*/ 1955482 h 3057525"/>
                  <a:gd name="connsiteX69" fmla="*/ 244793 w 333375"/>
                  <a:gd name="connsiteY69" fmla="*/ 1861185 h 3057525"/>
                  <a:gd name="connsiteX70" fmla="*/ 40958 w 333375"/>
                  <a:gd name="connsiteY70" fmla="*/ 659130 h 3057525"/>
                  <a:gd name="connsiteX71" fmla="*/ 53340 w 333375"/>
                  <a:gd name="connsiteY71" fmla="*/ 652463 h 3057525"/>
                  <a:gd name="connsiteX72" fmla="*/ 53340 w 333375"/>
                  <a:gd name="connsiteY72" fmla="*/ 369570 h 3057525"/>
                  <a:gd name="connsiteX73" fmla="*/ 17145 w 333375"/>
                  <a:gd name="connsiteY73" fmla="*/ 396240 h 3057525"/>
                  <a:gd name="connsiteX74" fmla="*/ 18098 w 333375"/>
                  <a:gd name="connsiteY74" fmla="*/ 599123 h 3057525"/>
                  <a:gd name="connsiteX75" fmla="*/ 40958 w 333375"/>
                  <a:gd name="connsiteY75" fmla="*/ 659130 h 3057525"/>
                  <a:gd name="connsiteX76" fmla="*/ 178118 w 333375"/>
                  <a:gd name="connsiteY76" fmla="*/ 2103120 h 3057525"/>
                  <a:gd name="connsiteX77" fmla="*/ 21908 w 333375"/>
                  <a:gd name="connsiteY77" fmla="*/ 2103120 h 3057525"/>
                  <a:gd name="connsiteX78" fmla="*/ 21908 w 333375"/>
                  <a:gd name="connsiteY78" fmla="*/ 2197418 h 3057525"/>
                  <a:gd name="connsiteX79" fmla="*/ 175260 w 333375"/>
                  <a:gd name="connsiteY79" fmla="*/ 2197418 h 3057525"/>
                  <a:gd name="connsiteX80" fmla="*/ 178118 w 333375"/>
                  <a:gd name="connsiteY80" fmla="*/ 2177415 h 3057525"/>
                  <a:gd name="connsiteX81" fmla="*/ 178118 w 333375"/>
                  <a:gd name="connsiteY81" fmla="*/ 2103120 h 3057525"/>
                  <a:gd name="connsiteX82" fmla="*/ 313373 w 333375"/>
                  <a:gd name="connsiteY82" fmla="*/ 1086803 h 3057525"/>
                  <a:gd name="connsiteX83" fmla="*/ 238125 w 333375"/>
                  <a:gd name="connsiteY83" fmla="*/ 942022 h 3057525"/>
                  <a:gd name="connsiteX84" fmla="*/ 238125 w 333375"/>
                  <a:gd name="connsiteY84" fmla="*/ 1086803 h 3057525"/>
                  <a:gd name="connsiteX85" fmla="*/ 313373 w 333375"/>
                  <a:gd name="connsiteY85" fmla="*/ 1086803 h 3057525"/>
                  <a:gd name="connsiteX86" fmla="*/ 133350 w 333375"/>
                  <a:gd name="connsiteY86" fmla="*/ 339090 h 3057525"/>
                  <a:gd name="connsiteX87" fmla="*/ 79058 w 333375"/>
                  <a:gd name="connsiteY87" fmla="*/ 186690 h 3057525"/>
                  <a:gd name="connsiteX88" fmla="*/ 79058 w 333375"/>
                  <a:gd name="connsiteY88" fmla="*/ 339090 h 3057525"/>
                  <a:gd name="connsiteX89" fmla="*/ 133350 w 333375"/>
                  <a:gd name="connsiteY89" fmla="*/ 339090 h 3057525"/>
                  <a:gd name="connsiteX90" fmla="*/ 33338 w 333375"/>
                  <a:gd name="connsiteY90" fmla="*/ 140970 h 3057525"/>
                  <a:gd name="connsiteX91" fmla="*/ 20003 w 333375"/>
                  <a:gd name="connsiteY91" fmla="*/ 142875 h 3057525"/>
                  <a:gd name="connsiteX92" fmla="*/ 20003 w 333375"/>
                  <a:gd name="connsiteY92" fmla="*/ 346710 h 3057525"/>
                  <a:gd name="connsiteX93" fmla="*/ 52388 w 333375"/>
                  <a:gd name="connsiteY93" fmla="*/ 325755 h 3057525"/>
                  <a:gd name="connsiteX94" fmla="*/ 33338 w 333375"/>
                  <a:gd name="connsiteY94" fmla="*/ 140970 h 3057525"/>
                  <a:gd name="connsiteX95" fmla="*/ 130493 w 333375"/>
                  <a:gd name="connsiteY95" fmla="*/ 1713548 h 3057525"/>
                  <a:gd name="connsiteX96" fmla="*/ 130493 w 333375"/>
                  <a:gd name="connsiteY96" fmla="*/ 1614488 h 3057525"/>
                  <a:gd name="connsiteX97" fmla="*/ 87630 w 333375"/>
                  <a:gd name="connsiteY97" fmla="*/ 1619250 h 3057525"/>
                  <a:gd name="connsiteX98" fmla="*/ 87630 w 333375"/>
                  <a:gd name="connsiteY98" fmla="*/ 1713548 h 3057525"/>
                  <a:gd name="connsiteX99" fmla="*/ 130493 w 333375"/>
                  <a:gd name="connsiteY99" fmla="*/ 1713548 h 3057525"/>
                  <a:gd name="connsiteX100" fmla="*/ 312420 w 333375"/>
                  <a:gd name="connsiteY100" fmla="*/ 2099310 h 3057525"/>
                  <a:gd name="connsiteX101" fmla="*/ 269558 w 333375"/>
                  <a:gd name="connsiteY101" fmla="*/ 2103120 h 3057525"/>
                  <a:gd name="connsiteX102" fmla="*/ 269558 w 333375"/>
                  <a:gd name="connsiteY102" fmla="*/ 2196465 h 3057525"/>
                  <a:gd name="connsiteX103" fmla="*/ 312420 w 333375"/>
                  <a:gd name="connsiteY103" fmla="*/ 2196465 h 3057525"/>
                  <a:gd name="connsiteX104" fmla="*/ 312420 w 333375"/>
                  <a:gd name="connsiteY104" fmla="*/ 2099310 h 3057525"/>
                  <a:gd name="connsiteX105" fmla="*/ 244793 w 333375"/>
                  <a:gd name="connsiteY105" fmla="*/ 1975485 h 3057525"/>
                  <a:gd name="connsiteX106" fmla="*/ 200978 w 333375"/>
                  <a:gd name="connsiteY106" fmla="*/ 1980248 h 3057525"/>
                  <a:gd name="connsiteX107" fmla="*/ 200978 w 333375"/>
                  <a:gd name="connsiteY107" fmla="*/ 2073593 h 3057525"/>
                  <a:gd name="connsiteX108" fmla="*/ 244793 w 333375"/>
                  <a:gd name="connsiteY108" fmla="*/ 2073593 h 3057525"/>
                  <a:gd name="connsiteX109" fmla="*/ 244793 w 333375"/>
                  <a:gd name="connsiteY109" fmla="*/ 1975485 h 3057525"/>
                  <a:gd name="connsiteX110" fmla="*/ 202883 w 333375"/>
                  <a:gd name="connsiteY110" fmla="*/ 2101215 h 3057525"/>
                  <a:gd name="connsiteX111" fmla="*/ 202883 w 333375"/>
                  <a:gd name="connsiteY111" fmla="*/ 2196465 h 3057525"/>
                  <a:gd name="connsiteX112" fmla="*/ 243840 w 333375"/>
                  <a:gd name="connsiteY112" fmla="*/ 2196465 h 3057525"/>
                  <a:gd name="connsiteX113" fmla="*/ 243840 w 333375"/>
                  <a:gd name="connsiteY113" fmla="*/ 2101215 h 3057525"/>
                  <a:gd name="connsiteX114" fmla="*/ 202883 w 333375"/>
                  <a:gd name="connsiteY114" fmla="*/ 2101215 h 3057525"/>
                  <a:gd name="connsiteX115" fmla="*/ 270510 w 333375"/>
                  <a:gd name="connsiteY115" fmla="*/ 1979295 h 3057525"/>
                  <a:gd name="connsiteX116" fmla="*/ 270510 w 333375"/>
                  <a:gd name="connsiteY116" fmla="*/ 2078355 h 3057525"/>
                  <a:gd name="connsiteX117" fmla="*/ 312420 w 333375"/>
                  <a:gd name="connsiteY117" fmla="*/ 2073593 h 3057525"/>
                  <a:gd name="connsiteX118" fmla="*/ 312420 w 333375"/>
                  <a:gd name="connsiteY118" fmla="*/ 1979295 h 3057525"/>
                  <a:gd name="connsiteX119" fmla="*/ 270510 w 333375"/>
                  <a:gd name="connsiteY119" fmla="*/ 1979295 h 3057525"/>
                  <a:gd name="connsiteX120" fmla="*/ 313373 w 333375"/>
                  <a:gd name="connsiteY120" fmla="*/ 1741170 h 3057525"/>
                  <a:gd name="connsiteX121" fmla="*/ 268605 w 333375"/>
                  <a:gd name="connsiteY121" fmla="*/ 1741170 h 3057525"/>
                  <a:gd name="connsiteX122" fmla="*/ 268605 w 333375"/>
                  <a:gd name="connsiteY122" fmla="*/ 1836420 h 3057525"/>
                  <a:gd name="connsiteX123" fmla="*/ 313373 w 333375"/>
                  <a:gd name="connsiteY123" fmla="*/ 1836420 h 3057525"/>
                  <a:gd name="connsiteX124" fmla="*/ 313373 w 333375"/>
                  <a:gd name="connsiteY124" fmla="*/ 1741170 h 3057525"/>
                  <a:gd name="connsiteX125" fmla="*/ 268605 w 333375"/>
                  <a:gd name="connsiteY125" fmla="*/ 1499235 h 3057525"/>
                  <a:gd name="connsiteX126" fmla="*/ 268605 w 333375"/>
                  <a:gd name="connsiteY126" fmla="*/ 1594485 h 3057525"/>
                  <a:gd name="connsiteX127" fmla="*/ 312420 w 333375"/>
                  <a:gd name="connsiteY127" fmla="*/ 1594485 h 3057525"/>
                  <a:gd name="connsiteX128" fmla="*/ 312420 w 333375"/>
                  <a:gd name="connsiteY128" fmla="*/ 1499235 h 3057525"/>
                  <a:gd name="connsiteX129" fmla="*/ 268605 w 333375"/>
                  <a:gd name="connsiteY129" fmla="*/ 1499235 h 3057525"/>
                  <a:gd name="connsiteX130" fmla="*/ 62865 w 333375"/>
                  <a:gd name="connsiteY130" fmla="*/ 1595438 h 3057525"/>
                  <a:gd name="connsiteX131" fmla="*/ 62865 w 333375"/>
                  <a:gd name="connsiteY131" fmla="*/ 1500188 h 3057525"/>
                  <a:gd name="connsiteX132" fmla="*/ 20003 w 333375"/>
                  <a:gd name="connsiteY132" fmla="*/ 1500188 h 3057525"/>
                  <a:gd name="connsiteX133" fmla="*/ 20003 w 333375"/>
                  <a:gd name="connsiteY133" fmla="*/ 1595438 h 3057525"/>
                  <a:gd name="connsiteX134" fmla="*/ 62865 w 333375"/>
                  <a:gd name="connsiteY134" fmla="*/ 1595438 h 3057525"/>
                  <a:gd name="connsiteX135" fmla="*/ 157163 w 333375"/>
                  <a:gd name="connsiteY135" fmla="*/ 2435543 h 3057525"/>
                  <a:gd name="connsiteX136" fmla="*/ 308610 w 333375"/>
                  <a:gd name="connsiteY136" fmla="*/ 2435543 h 3057525"/>
                  <a:gd name="connsiteX137" fmla="*/ 308610 w 333375"/>
                  <a:gd name="connsiteY137" fmla="*/ 2342198 h 3057525"/>
                  <a:gd name="connsiteX138" fmla="*/ 157163 w 333375"/>
                  <a:gd name="connsiteY138" fmla="*/ 2342198 h 3057525"/>
                  <a:gd name="connsiteX139" fmla="*/ 157163 w 333375"/>
                  <a:gd name="connsiteY139" fmla="*/ 2435543 h 3057525"/>
                  <a:gd name="connsiteX140" fmla="*/ 63818 w 333375"/>
                  <a:gd name="connsiteY140" fmla="*/ 1862138 h 3057525"/>
                  <a:gd name="connsiteX141" fmla="*/ 20003 w 333375"/>
                  <a:gd name="connsiteY141" fmla="*/ 1862138 h 3057525"/>
                  <a:gd name="connsiteX142" fmla="*/ 20003 w 333375"/>
                  <a:gd name="connsiteY142" fmla="*/ 1954530 h 3057525"/>
                  <a:gd name="connsiteX143" fmla="*/ 63818 w 333375"/>
                  <a:gd name="connsiteY143" fmla="*/ 1954530 h 3057525"/>
                  <a:gd name="connsiteX144" fmla="*/ 63818 w 333375"/>
                  <a:gd name="connsiteY144" fmla="*/ 1862138 h 3057525"/>
                  <a:gd name="connsiteX145" fmla="*/ 21908 w 333375"/>
                  <a:gd name="connsiteY145" fmla="*/ 2225993 h 3057525"/>
                  <a:gd name="connsiteX146" fmla="*/ 21908 w 333375"/>
                  <a:gd name="connsiteY146" fmla="*/ 2310765 h 3057525"/>
                  <a:gd name="connsiteX147" fmla="*/ 61913 w 333375"/>
                  <a:gd name="connsiteY147" fmla="*/ 2270760 h 3057525"/>
                  <a:gd name="connsiteX148" fmla="*/ 21908 w 333375"/>
                  <a:gd name="connsiteY148" fmla="*/ 2225993 h 3057525"/>
                  <a:gd name="connsiteX149" fmla="*/ 157163 w 333375"/>
                  <a:gd name="connsiteY149" fmla="*/ 242888 h 3057525"/>
                  <a:gd name="connsiteX150" fmla="*/ 195263 w 333375"/>
                  <a:gd name="connsiteY150" fmla="*/ 334328 h 3057525"/>
                  <a:gd name="connsiteX151" fmla="*/ 157163 w 333375"/>
                  <a:gd name="connsiteY151" fmla="*/ 242888 h 3057525"/>
                  <a:gd name="connsiteX152" fmla="*/ 268605 w 333375"/>
                  <a:gd name="connsiteY152" fmla="*/ 1861185 h 3057525"/>
                  <a:gd name="connsiteX153" fmla="*/ 268605 w 333375"/>
                  <a:gd name="connsiteY153" fmla="*/ 1953578 h 3057525"/>
                  <a:gd name="connsiteX154" fmla="*/ 312420 w 333375"/>
                  <a:gd name="connsiteY154" fmla="*/ 1953578 h 3057525"/>
                  <a:gd name="connsiteX155" fmla="*/ 312420 w 333375"/>
                  <a:gd name="connsiteY155" fmla="*/ 1861185 h 3057525"/>
                  <a:gd name="connsiteX156" fmla="*/ 268605 w 333375"/>
                  <a:gd name="connsiteY156" fmla="*/ 1861185 h 3057525"/>
                  <a:gd name="connsiteX157" fmla="*/ 90488 w 333375"/>
                  <a:gd name="connsiteY157" fmla="*/ 2223135 h 3057525"/>
                  <a:gd name="connsiteX158" fmla="*/ 90488 w 333375"/>
                  <a:gd name="connsiteY158" fmla="*/ 2312670 h 3057525"/>
                  <a:gd name="connsiteX159" fmla="*/ 242888 w 333375"/>
                  <a:gd name="connsiteY159" fmla="*/ 2312670 h 3057525"/>
                  <a:gd name="connsiteX160" fmla="*/ 242888 w 333375"/>
                  <a:gd name="connsiteY160" fmla="*/ 2223135 h 3057525"/>
                  <a:gd name="connsiteX161" fmla="*/ 90488 w 333375"/>
                  <a:gd name="connsiteY161" fmla="*/ 2223135 h 3057525"/>
                  <a:gd name="connsiteX162" fmla="*/ 126683 w 333375"/>
                  <a:gd name="connsiteY162" fmla="*/ 2436495 h 3057525"/>
                  <a:gd name="connsiteX163" fmla="*/ 126683 w 333375"/>
                  <a:gd name="connsiteY163" fmla="*/ 2336483 h 3057525"/>
                  <a:gd name="connsiteX164" fmla="*/ 90488 w 333375"/>
                  <a:gd name="connsiteY164" fmla="*/ 2346960 h 3057525"/>
                  <a:gd name="connsiteX165" fmla="*/ 88583 w 333375"/>
                  <a:gd name="connsiteY165" fmla="*/ 2436495 h 3057525"/>
                  <a:gd name="connsiteX166" fmla="*/ 126683 w 333375"/>
                  <a:gd name="connsiteY166" fmla="*/ 2436495 h 3057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333375" h="3057525">
                    <a:moveTo>
                      <a:pt x="335280" y="3057525"/>
                    </a:moveTo>
                    <a:cubicBezTo>
                      <a:pt x="220980" y="3057525"/>
                      <a:pt x="112395" y="3057525"/>
                      <a:pt x="0" y="3057525"/>
                    </a:cubicBezTo>
                    <a:cubicBezTo>
                      <a:pt x="0" y="2040255"/>
                      <a:pt x="0" y="1022985"/>
                      <a:pt x="0" y="0"/>
                    </a:cubicBezTo>
                    <a:cubicBezTo>
                      <a:pt x="70485" y="74295"/>
                      <a:pt x="138113" y="144780"/>
                      <a:pt x="203835" y="217170"/>
                    </a:cubicBezTo>
                    <a:cubicBezTo>
                      <a:pt x="214313" y="229552"/>
                      <a:pt x="218123" y="251460"/>
                      <a:pt x="218123" y="269558"/>
                    </a:cubicBezTo>
                    <a:cubicBezTo>
                      <a:pt x="219075" y="442913"/>
                      <a:pt x="220028" y="615315"/>
                      <a:pt x="218123" y="788670"/>
                    </a:cubicBezTo>
                    <a:cubicBezTo>
                      <a:pt x="218123" y="822960"/>
                      <a:pt x="224790" y="850583"/>
                      <a:pt x="252413" y="870585"/>
                    </a:cubicBezTo>
                    <a:cubicBezTo>
                      <a:pt x="323850" y="922020"/>
                      <a:pt x="338138" y="989647"/>
                      <a:pt x="338138" y="1076325"/>
                    </a:cubicBezTo>
                    <a:cubicBezTo>
                      <a:pt x="334328" y="1717358"/>
                      <a:pt x="336233" y="2358390"/>
                      <a:pt x="336233" y="2999423"/>
                    </a:cubicBezTo>
                    <a:cubicBezTo>
                      <a:pt x="335280" y="3017520"/>
                      <a:pt x="335280" y="3036570"/>
                      <a:pt x="335280" y="3057525"/>
                    </a:cubicBezTo>
                    <a:close/>
                    <a:moveTo>
                      <a:pt x="58103" y="796290"/>
                    </a:moveTo>
                    <a:cubicBezTo>
                      <a:pt x="50483" y="782955"/>
                      <a:pt x="42863" y="768668"/>
                      <a:pt x="35243" y="755333"/>
                    </a:cubicBezTo>
                    <a:cubicBezTo>
                      <a:pt x="30480" y="760095"/>
                      <a:pt x="25718" y="763905"/>
                      <a:pt x="20955" y="768668"/>
                    </a:cubicBezTo>
                    <a:cubicBezTo>
                      <a:pt x="20955" y="873443"/>
                      <a:pt x="20955" y="979170"/>
                      <a:pt x="20955" y="1084898"/>
                    </a:cubicBezTo>
                    <a:cubicBezTo>
                      <a:pt x="45720" y="1084898"/>
                      <a:pt x="66675" y="1084898"/>
                      <a:pt x="91440" y="1084898"/>
                    </a:cubicBezTo>
                    <a:cubicBezTo>
                      <a:pt x="91440" y="999172"/>
                      <a:pt x="92393" y="915353"/>
                      <a:pt x="90488" y="832485"/>
                    </a:cubicBezTo>
                    <a:cubicBezTo>
                      <a:pt x="90488" y="822008"/>
                      <a:pt x="71438" y="811530"/>
                      <a:pt x="61913" y="801053"/>
                    </a:cubicBezTo>
                    <a:cubicBezTo>
                      <a:pt x="60008" y="799147"/>
                      <a:pt x="59055" y="798195"/>
                      <a:pt x="58103" y="796290"/>
                    </a:cubicBezTo>
                    <a:close/>
                    <a:moveTo>
                      <a:pt x="158115" y="875347"/>
                    </a:moveTo>
                    <a:lnTo>
                      <a:pt x="159068" y="877253"/>
                    </a:lnTo>
                    <a:cubicBezTo>
                      <a:pt x="145733" y="864870"/>
                      <a:pt x="133350" y="852488"/>
                      <a:pt x="116205" y="837247"/>
                    </a:cubicBezTo>
                    <a:cubicBezTo>
                      <a:pt x="116205" y="923925"/>
                      <a:pt x="116205" y="1003935"/>
                      <a:pt x="116205" y="1084898"/>
                    </a:cubicBezTo>
                    <a:cubicBezTo>
                      <a:pt x="149543" y="1084898"/>
                      <a:pt x="180023" y="1084898"/>
                      <a:pt x="215265" y="1084898"/>
                    </a:cubicBezTo>
                    <a:cubicBezTo>
                      <a:pt x="215265" y="1046797"/>
                      <a:pt x="212408" y="1010603"/>
                      <a:pt x="216218" y="975360"/>
                    </a:cubicBezTo>
                    <a:cubicBezTo>
                      <a:pt x="221933" y="925830"/>
                      <a:pt x="203835" y="893445"/>
                      <a:pt x="158115" y="875347"/>
                    </a:cubicBezTo>
                    <a:close/>
                    <a:moveTo>
                      <a:pt x="215265" y="1448753"/>
                    </a:moveTo>
                    <a:cubicBezTo>
                      <a:pt x="215265" y="1334453"/>
                      <a:pt x="215265" y="1225868"/>
                      <a:pt x="215265" y="1114425"/>
                    </a:cubicBezTo>
                    <a:cubicBezTo>
                      <a:pt x="180975" y="1114425"/>
                      <a:pt x="148590" y="1114425"/>
                      <a:pt x="118110" y="1114425"/>
                    </a:cubicBezTo>
                    <a:cubicBezTo>
                      <a:pt x="118110" y="1227773"/>
                      <a:pt x="118110" y="1338263"/>
                      <a:pt x="118110" y="1448753"/>
                    </a:cubicBezTo>
                    <a:cubicBezTo>
                      <a:pt x="151448" y="1448753"/>
                      <a:pt x="180975" y="1448753"/>
                      <a:pt x="215265" y="1448753"/>
                    </a:cubicBezTo>
                    <a:close/>
                    <a:moveTo>
                      <a:pt x="236220" y="1113473"/>
                    </a:moveTo>
                    <a:cubicBezTo>
                      <a:pt x="236220" y="1225868"/>
                      <a:pt x="236220" y="1337310"/>
                      <a:pt x="236220" y="1447800"/>
                    </a:cubicBezTo>
                    <a:cubicBezTo>
                      <a:pt x="263843" y="1447800"/>
                      <a:pt x="288608" y="1447800"/>
                      <a:pt x="313373" y="1447800"/>
                    </a:cubicBezTo>
                    <a:cubicBezTo>
                      <a:pt x="313373" y="1335405"/>
                      <a:pt x="313373" y="1224915"/>
                      <a:pt x="313373" y="1113473"/>
                    </a:cubicBezTo>
                    <a:cubicBezTo>
                      <a:pt x="286703" y="1113473"/>
                      <a:pt x="262890" y="1113473"/>
                      <a:pt x="236220" y="1113473"/>
                    </a:cubicBezTo>
                    <a:close/>
                    <a:moveTo>
                      <a:pt x="89535" y="1448753"/>
                    </a:moveTo>
                    <a:cubicBezTo>
                      <a:pt x="89535" y="1333500"/>
                      <a:pt x="89535" y="1223963"/>
                      <a:pt x="89535" y="1114425"/>
                    </a:cubicBezTo>
                    <a:cubicBezTo>
                      <a:pt x="63818" y="1114425"/>
                      <a:pt x="42863" y="1114425"/>
                      <a:pt x="20003" y="1114425"/>
                    </a:cubicBezTo>
                    <a:cubicBezTo>
                      <a:pt x="20003" y="1226820"/>
                      <a:pt x="20003" y="1337310"/>
                      <a:pt x="20003" y="1448753"/>
                    </a:cubicBezTo>
                    <a:cubicBezTo>
                      <a:pt x="44768" y="1448753"/>
                      <a:pt x="66675" y="1448753"/>
                      <a:pt x="89535" y="1448753"/>
                    </a:cubicBezTo>
                    <a:close/>
                    <a:moveTo>
                      <a:pt x="135255" y="742950"/>
                    </a:moveTo>
                    <a:cubicBezTo>
                      <a:pt x="135255" y="615315"/>
                      <a:pt x="135255" y="491490"/>
                      <a:pt x="135255" y="366713"/>
                    </a:cubicBezTo>
                    <a:cubicBezTo>
                      <a:pt x="115253" y="366713"/>
                      <a:pt x="98108" y="366713"/>
                      <a:pt x="76200" y="366713"/>
                    </a:cubicBezTo>
                    <a:cubicBezTo>
                      <a:pt x="76200" y="457200"/>
                      <a:pt x="80010" y="545783"/>
                      <a:pt x="75248" y="633413"/>
                    </a:cubicBezTo>
                    <a:cubicBezTo>
                      <a:pt x="71438" y="685800"/>
                      <a:pt x="94298" y="715328"/>
                      <a:pt x="135255" y="742950"/>
                    </a:cubicBezTo>
                    <a:close/>
                    <a:moveTo>
                      <a:pt x="154305" y="367665"/>
                    </a:moveTo>
                    <a:cubicBezTo>
                      <a:pt x="154305" y="497205"/>
                      <a:pt x="153353" y="625793"/>
                      <a:pt x="156210" y="753428"/>
                    </a:cubicBezTo>
                    <a:cubicBezTo>
                      <a:pt x="156210" y="770572"/>
                      <a:pt x="176213" y="787718"/>
                      <a:pt x="194310" y="816293"/>
                    </a:cubicBezTo>
                    <a:cubicBezTo>
                      <a:pt x="194310" y="656273"/>
                      <a:pt x="194310" y="511492"/>
                      <a:pt x="194310" y="365760"/>
                    </a:cubicBezTo>
                    <a:cubicBezTo>
                      <a:pt x="180023" y="365760"/>
                      <a:pt x="169545" y="366713"/>
                      <a:pt x="154305" y="367665"/>
                    </a:cubicBezTo>
                    <a:close/>
                    <a:moveTo>
                      <a:pt x="176213" y="1740218"/>
                    </a:moveTo>
                    <a:cubicBezTo>
                      <a:pt x="122873" y="1740218"/>
                      <a:pt x="71438" y="1740218"/>
                      <a:pt x="20955" y="1740218"/>
                    </a:cubicBezTo>
                    <a:cubicBezTo>
                      <a:pt x="20955" y="1774508"/>
                      <a:pt x="20955" y="1804988"/>
                      <a:pt x="20955" y="1836420"/>
                    </a:cubicBezTo>
                    <a:cubicBezTo>
                      <a:pt x="74295" y="1836420"/>
                      <a:pt x="124778" y="1836420"/>
                      <a:pt x="176213" y="1836420"/>
                    </a:cubicBezTo>
                    <a:cubicBezTo>
                      <a:pt x="176213" y="1803083"/>
                      <a:pt x="176213" y="1772603"/>
                      <a:pt x="176213" y="1740218"/>
                    </a:cubicBezTo>
                    <a:close/>
                    <a:moveTo>
                      <a:pt x="155258" y="1618298"/>
                    </a:moveTo>
                    <a:cubicBezTo>
                      <a:pt x="155258" y="1651635"/>
                      <a:pt x="155258" y="1682115"/>
                      <a:pt x="155258" y="1713548"/>
                    </a:cubicBezTo>
                    <a:cubicBezTo>
                      <a:pt x="209550" y="1713548"/>
                      <a:pt x="260985" y="1713548"/>
                      <a:pt x="311468" y="1713548"/>
                    </a:cubicBezTo>
                    <a:cubicBezTo>
                      <a:pt x="311468" y="1679258"/>
                      <a:pt x="311468" y="1648778"/>
                      <a:pt x="311468" y="1618298"/>
                    </a:cubicBezTo>
                    <a:cubicBezTo>
                      <a:pt x="257175" y="1618298"/>
                      <a:pt x="207645" y="1618298"/>
                      <a:pt x="155258" y="1618298"/>
                    </a:cubicBezTo>
                    <a:close/>
                    <a:moveTo>
                      <a:pt x="87630" y="1595438"/>
                    </a:moveTo>
                    <a:cubicBezTo>
                      <a:pt x="140970" y="1595438"/>
                      <a:pt x="191453" y="1595438"/>
                      <a:pt x="243840" y="1595438"/>
                    </a:cubicBezTo>
                    <a:cubicBezTo>
                      <a:pt x="243840" y="1563053"/>
                      <a:pt x="243840" y="1531620"/>
                      <a:pt x="243840" y="1501140"/>
                    </a:cubicBezTo>
                    <a:cubicBezTo>
                      <a:pt x="190500" y="1501140"/>
                      <a:pt x="139065" y="1501140"/>
                      <a:pt x="87630" y="1501140"/>
                    </a:cubicBezTo>
                    <a:cubicBezTo>
                      <a:pt x="87630" y="1533525"/>
                      <a:pt x="87630" y="1563053"/>
                      <a:pt x="87630" y="1595438"/>
                    </a:cubicBezTo>
                    <a:close/>
                    <a:moveTo>
                      <a:pt x="244793" y="1861185"/>
                    </a:moveTo>
                    <a:cubicBezTo>
                      <a:pt x="190500" y="1861185"/>
                      <a:pt x="140970" y="1861185"/>
                      <a:pt x="89535" y="1861185"/>
                    </a:cubicBezTo>
                    <a:cubicBezTo>
                      <a:pt x="89535" y="1894523"/>
                      <a:pt x="89535" y="1924050"/>
                      <a:pt x="89535" y="1955482"/>
                    </a:cubicBezTo>
                    <a:cubicBezTo>
                      <a:pt x="142875" y="1955482"/>
                      <a:pt x="192405" y="1955482"/>
                      <a:pt x="244793" y="1955482"/>
                    </a:cubicBezTo>
                    <a:cubicBezTo>
                      <a:pt x="244793" y="1924050"/>
                      <a:pt x="244793" y="1894523"/>
                      <a:pt x="244793" y="1861185"/>
                    </a:cubicBezTo>
                    <a:close/>
                    <a:moveTo>
                      <a:pt x="40958" y="659130"/>
                    </a:moveTo>
                    <a:cubicBezTo>
                      <a:pt x="44768" y="657225"/>
                      <a:pt x="48578" y="654368"/>
                      <a:pt x="53340" y="652463"/>
                    </a:cubicBezTo>
                    <a:cubicBezTo>
                      <a:pt x="53340" y="558165"/>
                      <a:pt x="53340" y="463867"/>
                      <a:pt x="53340" y="369570"/>
                    </a:cubicBezTo>
                    <a:cubicBezTo>
                      <a:pt x="22860" y="357188"/>
                      <a:pt x="17145" y="371475"/>
                      <a:pt x="17145" y="396240"/>
                    </a:cubicBezTo>
                    <a:cubicBezTo>
                      <a:pt x="18098" y="463867"/>
                      <a:pt x="15240" y="531495"/>
                      <a:pt x="18098" y="599123"/>
                    </a:cubicBezTo>
                    <a:cubicBezTo>
                      <a:pt x="19050" y="620078"/>
                      <a:pt x="33338" y="640080"/>
                      <a:pt x="40958" y="659130"/>
                    </a:cubicBezTo>
                    <a:close/>
                    <a:moveTo>
                      <a:pt x="178118" y="2103120"/>
                    </a:moveTo>
                    <a:cubicBezTo>
                      <a:pt x="121920" y="2103120"/>
                      <a:pt x="71438" y="2103120"/>
                      <a:pt x="21908" y="2103120"/>
                    </a:cubicBezTo>
                    <a:cubicBezTo>
                      <a:pt x="21908" y="2136458"/>
                      <a:pt x="21908" y="2165985"/>
                      <a:pt x="21908" y="2197418"/>
                    </a:cubicBezTo>
                    <a:cubicBezTo>
                      <a:pt x="74295" y="2197418"/>
                      <a:pt x="123825" y="2197418"/>
                      <a:pt x="175260" y="2197418"/>
                    </a:cubicBezTo>
                    <a:cubicBezTo>
                      <a:pt x="176213" y="2189798"/>
                      <a:pt x="178118" y="2183130"/>
                      <a:pt x="178118" y="2177415"/>
                    </a:cubicBezTo>
                    <a:cubicBezTo>
                      <a:pt x="178118" y="2153603"/>
                      <a:pt x="178118" y="2129790"/>
                      <a:pt x="178118" y="2103120"/>
                    </a:cubicBezTo>
                    <a:close/>
                    <a:moveTo>
                      <a:pt x="313373" y="1086803"/>
                    </a:moveTo>
                    <a:cubicBezTo>
                      <a:pt x="320993" y="989647"/>
                      <a:pt x="316230" y="981075"/>
                      <a:pt x="238125" y="942022"/>
                    </a:cubicBezTo>
                    <a:cubicBezTo>
                      <a:pt x="238125" y="989647"/>
                      <a:pt x="238125" y="1037272"/>
                      <a:pt x="238125" y="1086803"/>
                    </a:cubicBezTo>
                    <a:cubicBezTo>
                      <a:pt x="263843" y="1086803"/>
                      <a:pt x="287655" y="1086803"/>
                      <a:pt x="313373" y="1086803"/>
                    </a:cubicBezTo>
                    <a:close/>
                    <a:moveTo>
                      <a:pt x="133350" y="339090"/>
                    </a:moveTo>
                    <a:cubicBezTo>
                      <a:pt x="146685" y="225742"/>
                      <a:pt x="140018" y="207645"/>
                      <a:pt x="79058" y="186690"/>
                    </a:cubicBezTo>
                    <a:cubicBezTo>
                      <a:pt x="79058" y="236220"/>
                      <a:pt x="79058" y="286703"/>
                      <a:pt x="79058" y="339090"/>
                    </a:cubicBezTo>
                    <a:cubicBezTo>
                      <a:pt x="97155" y="339090"/>
                      <a:pt x="113348" y="339090"/>
                      <a:pt x="133350" y="339090"/>
                    </a:cubicBezTo>
                    <a:close/>
                    <a:moveTo>
                      <a:pt x="33338" y="140970"/>
                    </a:moveTo>
                    <a:cubicBezTo>
                      <a:pt x="28575" y="141923"/>
                      <a:pt x="23813" y="142875"/>
                      <a:pt x="20003" y="142875"/>
                    </a:cubicBezTo>
                    <a:cubicBezTo>
                      <a:pt x="20003" y="207645"/>
                      <a:pt x="20003" y="271463"/>
                      <a:pt x="20003" y="346710"/>
                    </a:cubicBezTo>
                    <a:cubicBezTo>
                      <a:pt x="35243" y="337185"/>
                      <a:pt x="53340" y="330517"/>
                      <a:pt x="52388" y="325755"/>
                    </a:cubicBezTo>
                    <a:cubicBezTo>
                      <a:pt x="44768" y="263842"/>
                      <a:pt x="75248" y="197167"/>
                      <a:pt x="33338" y="140970"/>
                    </a:cubicBezTo>
                    <a:close/>
                    <a:moveTo>
                      <a:pt x="130493" y="1713548"/>
                    </a:moveTo>
                    <a:cubicBezTo>
                      <a:pt x="130493" y="1678305"/>
                      <a:pt x="130493" y="1647825"/>
                      <a:pt x="130493" y="1614488"/>
                    </a:cubicBezTo>
                    <a:cubicBezTo>
                      <a:pt x="113348" y="1616393"/>
                      <a:pt x="100013" y="1618298"/>
                      <a:pt x="87630" y="1619250"/>
                    </a:cubicBezTo>
                    <a:cubicBezTo>
                      <a:pt x="87630" y="1652588"/>
                      <a:pt x="87630" y="1682115"/>
                      <a:pt x="87630" y="1713548"/>
                    </a:cubicBezTo>
                    <a:cubicBezTo>
                      <a:pt x="101918" y="1713548"/>
                      <a:pt x="115253" y="1713548"/>
                      <a:pt x="130493" y="1713548"/>
                    </a:cubicBezTo>
                    <a:close/>
                    <a:moveTo>
                      <a:pt x="312420" y="2099310"/>
                    </a:moveTo>
                    <a:cubicBezTo>
                      <a:pt x="295275" y="2101215"/>
                      <a:pt x="281940" y="2102168"/>
                      <a:pt x="269558" y="2103120"/>
                    </a:cubicBezTo>
                    <a:cubicBezTo>
                      <a:pt x="269558" y="2136458"/>
                      <a:pt x="269558" y="2165985"/>
                      <a:pt x="269558" y="2196465"/>
                    </a:cubicBezTo>
                    <a:cubicBezTo>
                      <a:pt x="284798" y="2196465"/>
                      <a:pt x="297180" y="2196465"/>
                      <a:pt x="312420" y="2196465"/>
                    </a:cubicBezTo>
                    <a:cubicBezTo>
                      <a:pt x="312420" y="2164080"/>
                      <a:pt x="312420" y="2135505"/>
                      <a:pt x="312420" y="2099310"/>
                    </a:cubicBezTo>
                    <a:close/>
                    <a:moveTo>
                      <a:pt x="244793" y="1975485"/>
                    </a:moveTo>
                    <a:cubicBezTo>
                      <a:pt x="226695" y="1977390"/>
                      <a:pt x="213360" y="1979295"/>
                      <a:pt x="200978" y="1980248"/>
                    </a:cubicBezTo>
                    <a:cubicBezTo>
                      <a:pt x="200978" y="2013585"/>
                      <a:pt x="200978" y="2043113"/>
                      <a:pt x="200978" y="2073593"/>
                    </a:cubicBezTo>
                    <a:cubicBezTo>
                      <a:pt x="217170" y="2073593"/>
                      <a:pt x="230505" y="2073593"/>
                      <a:pt x="244793" y="2073593"/>
                    </a:cubicBezTo>
                    <a:cubicBezTo>
                      <a:pt x="244793" y="2042160"/>
                      <a:pt x="244793" y="2012632"/>
                      <a:pt x="244793" y="1975485"/>
                    </a:cubicBezTo>
                    <a:close/>
                    <a:moveTo>
                      <a:pt x="202883" y="2101215"/>
                    </a:moveTo>
                    <a:cubicBezTo>
                      <a:pt x="202883" y="2135505"/>
                      <a:pt x="202883" y="2165985"/>
                      <a:pt x="202883" y="2196465"/>
                    </a:cubicBezTo>
                    <a:cubicBezTo>
                      <a:pt x="218123" y="2196465"/>
                      <a:pt x="229553" y="2196465"/>
                      <a:pt x="243840" y="2196465"/>
                    </a:cubicBezTo>
                    <a:cubicBezTo>
                      <a:pt x="243840" y="2164080"/>
                      <a:pt x="243840" y="2132648"/>
                      <a:pt x="243840" y="2101215"/>
                    </a:cubicBezTo>
                    <a:cubicBezTo>
                      <a:pt x="229553" y="2101215"/>
                      <a:pt x="218123" y="2101215"/>
                      <a:pt x="202883" y="2101215"/>
                    </a:cubicBezTo>
                    <a:close/>
                    <a:moveTo>
                      <a:pt x="270510" y="1979295"/>
                    </a:moveTo>
                    <a:cubicBezTo>
                      <a:pt x="270510" y="2014538"/>
                      <a:pt x="270510" y="2045018"/>
                      <a:pt x="270510" y="2078355"/>
                    </a:cubicBezTo>
                    <a:cubicBezTo>
                      <a:pt x="287655" y="2076450"/>
                      <a:pt x="300038" y="2075498"/>
                      <a:pt x="312420" y="2073593"/>
                    </a:cubicBezTo>
                    <a:cubicBezTo>
                      <a:pt x="312420" y="2039303"/>
                      <a:pt x="312420" y="2009775"/>
                      <a:pt x="312420" y="1979295"/>
                    </a:cubicBezTo>
                    <a:cubicBezTo>
                      <a:pt x="297180" y="1979295"/>
                      <a:pt x="284798" y="1979295"/>
                      <a:pt x="270510" y="1979295"/>
                    </a:cubicBezTo>
                    <a:close/>
                    <a:moveTo>
                      <a:pt x="313373" y="1741170"/>
                    </a:moveTo>
                    <a:cubicBezTo>
                      <a:pt x="296228" y="1741170"/>
                      <a:pt x="281940" y="1741170"/>
                      <a:pt x="268605" y="1741170"/>
                    </a:cubicBezTo>
                    <a:cubicBezTo>
                      <a:pt x="268605" y="1774508"/>
                      <a:pt x="268605" y="1804988"/>
                      <a:pt x="268605" y="1836420"/>
                    </a:cubicBezTo>
                    <a:cubicBezTo>
                      <a:pt x="283845" y="1836420"/>
                      <a:pt x="297180" y="1836420"/>
                      <a:pt x="313373" y="1836420"/>
                    </a:cubicBezTo>
                    <a:cubicBezTo>
                      <a:pt x="313373" y="1803083"/>
                      <a:pt x="313373" y="1772603"/>
                      <a:pt x="313373" y="1741170"/>
                    </a:cubicBezTo>
                    <a:close/>
                    <a:moveTo>
                      <a:pt x="268605" y="1499235"/>
                    </a:moveTo>
                    <a:cubicBezTo>
                      <a:pt x="268605" y="1533525"/>
                      <a:pt x="268605" y="1564005"/>
                      <a:pt x="268605" y="1594485"/>
                    </a:cubicBezTo>
                    <a:cubicBezTo>
                      <a:pt x="284798" y="1594485"/>
                      <a:pt x="298133" y="1594485"/>
                      <a:pt x="312420" y="1594485"/>
                    </a:cubicBezTo>
                    <a:cubicBezTo>
                      <a:pt x="312420" y="1561148"/>
                      <a:pt x="312420" y="1530668"/>
                      <a:pt x="312420" y="1499235"/>
                    </a:cubicBezTo>
                    <a:cubicBezTo>
                      <a:pt x="298133" y="1499235"/>
                      <a:pt x="285750" y="1499235"/>
                      <a:pt x="268605" y="1499235"/>
                    </a:cubicBezTo>
                    <a:close/>
                    <a:moveTo>
                      <a:pt x="62865" y="1595438"/>
                    </a:moveTo>
                    <a:cubicBezTo>
                      <a:pt x="62865" y="1561148"/>
                      <a:pt x="62865" y="1531620"/>
                      <a:pt x="62865" y="1500188"/>
                    </a:cubicBezTo>
                    <a:cubicBezTo>
                      <a:pt x="47625" y="1500188"/>
                      <a:pt x="34290" y="1500188"/>
                      <a:pt x="20003" y="1500188"/>
                    </a:cubicBezTo>
                    <a:cubicBezTo>
                      <a:pt x="20003" y="1533525"/>
                      <a:pt x="20003" y="1564005"/>
                      <a:pt x="20003" y="1595438"/>
                    </a:cubicBezTo>
                    <a:cubicBezTo>
                      <a:pt x="36195" y="1595438"/>
                      <a:pt x="47625" y="1595438"/>
                      <a:pt x="62865" y="1595438"/>
                    </a:cubicBezTo>
                    <a:close/>
                    <a:moveTo>
                      <a:pt x="157163" y="2435543"/>
                    </a:moveTo>
                    <a:cubicBezTo>
                      <a:pt x="210503" y="2435543"/>
                      <a:pt x="258128" y="2435543"/>
                      <a:pt x="308610" y="2435543"/>
                    </a:cubicBezTo>
                    <a:cubicBezTo>
                      <a:pt x="308610" y="2402205"/>
                      <a:pt x="308610" y="2372678"/>
                      <a:pt x="308610" y="2342198"/>
                    </a:cubicBezTo>
                    <a:cubicBezTo>
                      <a:pt x="256223" y="2342198"/>
                      <a:pt x="208598" y="2342198"/>
                      <a:pt x="157163" y="2342198"/>
                    </a:cubicBezTo>
                    <a:cubicBezTo>
                      <a:pt x="157163" y="2373630"/>
                      <a:pt x="157163" y="2403158"/>
                      <a:pt x="157163" y="2435543"/>
                    </a:cubicBezTo>
                    <a:close/>
                    <a:moveTo>
                      <a:pt x="63818" y="1862138"/>
                    </a:moveTo>
                    <a:cubicBezTo>
                      <a:pt x="46673" y="1862138"/>
                      <a:pt x="34290" y="1862138"/>
                      <a:pt x="20003" y="1862138"/>
                    </a:cubicBezTo>
                    <a:cubicBezTo>
                      <a:pt x="20003" y="1894523"/>
                      <a:pt x="20003" y="1924050"/>
                      <a:pt x="20003" y="1954530"/>
                    </a:cubicBezTo>
                    <a:cubicBezTo>
                      <a:pt x="35243" y="1954530"/>
                      <a:pt x="48578" y="1954530"/>
                      <a:pt x="63818" y="1954530"/>
                    </a:cubicBezTo>
                    <a:cubicBezTo>
                      <a:pt x="63818" y="1923098"/>
                      <a:pt x="63818" y="1895475"/>
                      <a:pt x="63818" y="1862138"/>
                    </a:cubicBezTo>
                    <a:close/>
                    <a:moveTo>
                      <a:pt x="21908" y="2225993"/>
                    </a:moveTo>
                    <a:cubicBezTo>
                      <a:pt x="21908" y="2253615"/>
                      <a:pt x="21908" y="2282190"/>
                      <a:pt x="21908" y="2310765"/>
                    </a:cubicBezTo>
                    <a:cubicBezTo>
                      <a:pt x="63818" y="2324100"/>
                      <a:pt x="62865" y="2297430"/>
                      <a:pt x="61913" y="2270760"/>
                    </a:cubicBezTo>
                    <a:cubicBezTo>
                      <a:pt x="61913" y="2245995"/>
                      <a:pt x="72390" y="2212658"/>
                      <a:pt x="21908" y="2225993"/>
                    </a:cubicBezTo>
                    <a:close/>
                    <a:moveTo>
                      <a:pt x="157163" y="242888"/>
                    </a:moveTo>
                    <a:cubicBezTo>
                      <a:pt x="151448" y="340995"/>
                      <a:pt x="151448" y="340995"/>
                      <a:pt x="195263" y="334328"/>
                    </a:cubicBezTo>
                    <a:cubicBezTo>
                      <a:pt x="193358" y="300990"/>
                      <a:pt x="211455" y="260033"/>
                      <a:pt x="157163" y="242888"/>
                    </a:cubicBezTo>
                    <a:close/>
                    <a:moveTo>
                      <a:pt x="268605" y="1861185"/>
                    </a:moveTo>
                    <a:cubicBezTo>
                      <a:pt x="268605" y="1892618"/>
                      <a:pt x="268605" y="1922145"/>
                      <a:pt x="268605" y="1953578"/>
                    </a:cubicBezTo>
                    <a:cubicBezTo>
                      <a:pt x="283845" y="1953578"/>
                      <a:pt x="297180" y="1953578"/>
                      <a:pt x="312420" y="1953578"/>
                    </a:cubicBezTo>
                    <a:cubicBezTo>
                      <a:pt x="312420" y="1922145"/>
                      <a:pt x="312420" y="1892618"/>
                      <a:pt x="312420" y="1861185"/>
                    </a:cubicBezTo>
                    <a:cubicBezTo>
                      <a:pt x="297180" y="1861185"/>
                      <a:pt x="283845" y="1861185"/>
                      <a:pt x="268605" y="1861185"/>
                    </a:cubicBezTo>
                    <a:close/>
                    <a:moveTo>
                      <a:pt x="90488" y="2223135"/>
                    </a:moveTo>
                    <a:cubicBezTo>
                      <a:pt x="90488" y="2255520"/>
                      <a:pt x="90488" y="2283143"/>
                      <a:pt x="90488" y="2312670"/>
                    </a:cubicBezTo>
                    <a:cubicBezTo>
                      <a:pt x="142875" y="2312670"/>
                      <a:pt x="192405" y="2312670"/>
                      <a:pt x="242888" y="2312670"/>
                    </a:cubicBezTo>
                    <a:cubicBezTo>
                      <a:pt x="242888" y="2281238"/>
                      <a:pt x="242888" y="2252663"/>
                      <a:pt x="242888" y="2223135"/>
                    </a:cubicBezTo>
                    <a:cubicBezTo>
                      <a:pt x="190500" y="2223135"/>
                      <a:pt x="141923" y="2223135"/>
                      <a:pt x="90488" y="2223135"/>
                    </a:cubicBezTo>
                    <a:close/>
                    <a:moveTo>
                      <a:pt x="126683" y="2436495"/>
                    </a:moveTo>
                    <a:cubicBezTo>
                      <a:pt x="126683" y="2402205"/>
                      <a:pt x="126683" y="2371725"/>
                      <a:pt x="126683" y="2336483"/>
                    </a:cubicBezTo>
                    <a:cubicBezTo>
                      <a:pt x="111443" y="2341245"/>
                      <a:pt x="90488" y="2343150"/>
                      <a:pt x="90488" y="2346960"/>
                    </a:cubicBezTo>
                    <a:cubicBezTo>
                      <a:pt x="87630" y="2376488"/>
                      <a:pt x="88583" y="2405063"/>
                      <a:pt x="88583" y="2436495"/>
                    </a:cubicBezTo>
                    <a:cubicBezTo>
                      <a:pt x="102870" y="2436495"/>
                      <a:pt x="113348" y="2436495"/>
                      <a:pt x="126683" y="2436495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400" kern="0" dirty="0" smtClea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58" name="Freeform: Shape 103">
                <a:extLst>
                  <a:ext uri="{FF2B5EF4-FFF2-40B4-BE49-F238E27FC236}">
                    <a16:creationId xmlns="" xmlns:a16="http://schemas.microsoft.com/office/drawing/2014/main" id="{CB703580-2F9F-42C5-B59B-94712BACD7E1}"/>
                  </a:ext>
                </a:extLst>
              </p:cNvPr>
              <p:cNvSpPr/>
              <p:nvPr/>
            </p:nvSpPr>
            <p:spPr>
              <a:xfrm>
                <a:off x="4641190" y="1423862"/>
                <a:ext cx="477157" cy="2330989"/>
              </a:xfrm>
              <a:custGeom>
                <a:avLst/>
                <a:gdLst>
                  <a:gd name="connsiteX0" fmla="*/ 285608 w 487386"/>
                  <a:gd name="connsiteY0" fmla="*/ 1339706 h 2330989"/>
                  <a:gd name="connsiteX1" fmla="*/ 285608 w 487386"/>
                  <a:gd name="connsiteY1" fmla="*/ 1414297 h 2330989"/>
                  <a:gd name="connsiteX2" fmla="*/ 356272 w 487386"/>
                  <a:gd name="connsiteY2" fmla="*/ 1414297 h 2330989"/>
                  <a:gd name="connsiteX3" fmla="*/ 356272 w 487386"/>
                  <a:gd name="connsiteY3" fmla="*/ 1339706 h 2330989"/>
                  <a:gd name="connsiteX4" fmla="*/ 285608 w 487386"/>
                  <a:gd name="connsiteY4" fmla="*/ 1339706 h 2330989"/>
                  <a:gd name="connsiteX5" fmla="*/ 31407 w 487386"/>
                  <a:gd name="connsiteY5" fmla="*/ 1338724 h 2330989"/>
                  <a:gd name="connsiteX6" fmla="*/ 31407 w 487386"/>
                  <a:gd name="connsiteY6" fmla="*/ 1414297 h 2330989"/>
                  <a:gd name="connsiteX7" fmla="*/ 258126 w 487386"/>
                  <a:gd name="connsiteY7" fmla="*/ 1414297 h 2330989"/>
                  <a:gd name="connsiteX8" fmla="*/ 258126 w 487386"/>
                  <a:gd name="connsiteY8" fmla="*/ 1338724 h 2330989"/>
                  <a:gd name="connsiteX9" fmla="*/ 31407 w 487386"/>
                  <a:gd name="connsiteY9" fmla="*/ 1338724 h 2330989"/>
                  <a:gd name="connsiteX10" fmla="*/ 385716 w 487386"/>
                  <a:gd name="connsiteY10" fmla="*/ 1245485 h 2330989"/>
                  <a:gd name="connsiteX11" fmla="*/ 385716 w 487386"/>
                  <a:gd name="connsiteY11" fmla="*/ 1318113 h 2330989"/>
                  <a:gd name="connsiteX12" fmla="*/ 453438 w 487386"/>
                  <a:gd name="connsiteY12" fmla="*/ 1318113 h 2330989"/>
                  <a:gd name="connsiteX13" fmla="*/ 453438 w 487386"/>
                  <a:gd name="connsiteY13" fmla="*/ 1245485 h 2330989"/>
                  <a:gd name="connsiteX14" fmla="*/ 385716 w 487386"/>
                  <a:gd name="connsiteY14" fmla="*/ 1245485 h 2330989"/>
                  <a:gd name="connsiteX15" fmla="*/ 32388 w 487386"/>
                  <a:gd name="connsiteY15" fmla="*/ 1243522 h 2330989"/>
                  <a:gd name="connsiteX16" fmla="*/ 32388 w 487386"/>
                  <a:gd name="connsiteY16" fmla="*/ 1318113 h 2330989"/>
                  <a:gd name="connsiteX17" fmla="*/ 102073 w 487386"/>
                  <a:gd name="connsiteY17" fmla="*/ 1318113 h 2330989"/>
                  <a:gd name="connsiteX18" fmla="*/ 102073 w 487386"/>
                  <a:gd name="connsiteY18" fmla="*/ 1243522 h 2330989"/>
                  <a:gd name="connsiteX19" fmla="*/ 32388 w 487386"/>
                  <a:gd name="connsiteY19" fmla="*/ 1243522 h 2330989"/>
                  <a:gd name="connsiteX20" fmla="*/ 130535 w 487386"/>
                  <a:gd name="connsiteY20" fmla="*/ 1242540 h 2330989"/>
                  <a:gd name="connsiteX21" fmla="*/ 130535 w 487386"/>
                  <a:gd name="connsiteY21" fmla="*/ 1317131 h 2330989"/>
                  <a:gd name="connsiteX22" fmla="*/ 356272 w 487386"/>
                  <a:gd name="connsiteY22" fmla="*/ 1317131 h 2330989"/>
                  <a:gd name="connsiteX23" fmla="*/ 356272 w 487386"/>
                  <a:gd name="connsiteY23" fmla="*/ 1242540 h 2330989"/>
                  <a:gd name="connsiteX24" fmla="*/ 130535 w 487386"/>
                  <a:gd name="connsiteY24" fmla="*/ 1242540 h 2330989"/>
                  <a:gd name="connsiteX25" fmla="*/ 128572 w 487386"/>
                  <a:gd name="connsiteY25" fmla="*/ 1149301 h 2330989"/>
                  <a:gd name="connsiteX26" fmla="*/ 128572 w 487386"/>
                  <a:gd name="connsiteY26" fmla="*/ 1220947 h 2330989"/>
                  <a:gd name="connsiteX27" fmla="*/ 199237 w 487386"/>
                  <a:gd name="connsiteY27" fmla="*/ 1220947 h 2330989"/>
                  <a:gd name="connsiteX28" fmla="*/ 199237 w 487386"/>
                  <a:gd name="connsiteY28" fmla="*/ 1149301 h 2330989"/>
                  <a:gd name="connsiteX29" fmla="*/ 128572 w 487386"/>
                  <a:gd name="connsiteY29" fmla="*/ 1149301 h 2330989"/>
                  <a:gd name="connsiteX30" fmla="*/ 226720 w 487386"/>
                  <a:gd name="connsiteY30" fmla="*/ 1148319 h 2330989"/>
                  <a:gd name="connsiteX31" fmla="*/ 226720 w 487386"/>
                  <a:gd name="connsiteY31" fmla="*/ 1219966 h 2330989"/>
                  <a:gd name="connsiteX32" fmla="*/ 453438 w 487386"/>
                  <a:gd name="connsiteY32" fmla="*/ 1219966 h 2330989"/>
                  <a:gd name="connsiteX33" fmla="*/ 453438 w 487386"/>
                  <a:gd name="connsiteY33" fmla="*/ 1148319 h 2330989"/>
                  <a:gd name="connsiteX34" fmla="*/ 226720 w 487386"/>
                  <a:gd name="connsiteY34" fmla="*/ 1148319 h 2330989"/>
                  <a:gd name="connsiteX35" fmla="*/ 128572 w 487386"/>
                  <a:gd name="connsiteY35" fmla="*/ 1050172 h 2330989"/>
                  <a:gd name="connsiteX36" fmla="*/ 128572 w 487386"/>
                  <a:gd name="connsiteY36" fmla="*/ 1121820 h 2330989"/>
                  <a:gd name="connsiteX37" fmla="*/ 357254 w 487386"/>
                  <a:gd name="connsiteY37" fmla="*/ 1121820 h 2330989"/>
                  <a:gd name="connsiteX38" fmla="*/ 357254 w 487386"/>
                  <a:gd name="connsiteY38" fmla="*/ 1050172 h 2330989"/>
                  <a:gd name="connsiteX39" fmla="*/ 128572 w 487386"/>
                  <a:gd name="connsiteY39" fmla="*/ 1050172 h 2330989"/>
                  <a:gd name="connsiteX40" fmla="*/ 32388 w 487386"/>
                  <a:gd name="connsiteY40" fmla="*/ 1050172 h 2330989"/>
                  <a:gd name="connsiteX41" fmla="*/ 32388 w 487386"/>
                  <a:gd name="connsiteY41" fmla="*/ 1122800 h 2330989"/>
                  <a:gd name="connsiteX42" fmla="*/ 103055 w 487386"/>
                  <a:gd name="connsiteY42" fmla="*/ 1122800 h 2330989"/>
                  <a:gd name="connsiteX43" fmla="*/ 103055 w 487386"/>
                  <a:gd name="connsiteY43" fmla="*/ 1050172 h 2330989"/>
                  <a:gd name="connsiteX44" fmla="*/ 32388 w 487386"/>
                  <a:gd name="connsiteY44" fmla="*/ 1050172 h 2330989"/>
                  <a:gd name="connsiteX45" fmla="*/ 383754 w 487386"/>
                  <a:gd name="connsiteY45" fmla="*/ 953007 h 2330989"/>
                  <a:gd name="connsiteX46" fmla="*/ 383754 w 487386"/>
                  <a:gd name="connsiteY46" fmla="*/ 1024654 h 2330989"/>
                  <a:gd name="connsiteX47" fmla="*/ 452457 w 487386"/>
                  <a:gd name="connsiteY47" fmla="*/ 1024654 h 2330989"/>
                  <a:gd name="connsiteX48" fmla="*/ 452457 w 487386"/>
                  <a:gd name="connsiteY48" fmla="*/ 953007 h 2330989"/>
                  <a:gd name="connsiteX49" fmla="*/ 383754 w 487386"/>
                  <a:gd name="connsiteY49" fmla="*/ 953007 h 2330989"/>
                  <a:gd name="connsiteX50" fmla="*/ 30425 w 487386"/>
                  <a:gd name="connsiteY50" fmla="*/ 953007 h 2330989"/>
                  <a:gd name="connsiteX51" fmla="*/ 30425 w 487386"/>
                  <a:gd name="connsiteY51" fmla="*/ 1023673 h 2330989"/>
                  <a:gd name="connsiteX52" fmla="*/ 259108 w 487386"/>
                  <a:gd name="connsiteY52" fmla="*/ 1023673 h 2330989"/>
                  <a:gd name="connsiteX53" fmla="*/ 259108 w 487386"/>
                  <a:gd name="connsiteY53" fmla="*/ 953007 h 2330989"/>
                  <a:gd name="connsiteX54" fmla="*/ 30425 w 487386"/>
                  <a:gd name="connsiteY54" fmla="*/ 953007 h 2330989"/>
                  <a:gd name="connsiteX55" fmla="*/ 286589 w 487386"/>
                  <a:gd name="connsiteY55" fmla="*/ 952025 h 2330989"/>
                  <a:gd name="connsiteX56" fmla="*/ 286589 w 487386"/>
                  <a:gd name="connsiteY56" fmla="*/ 1023673 h 2330989"/>
                  <a:gd name="connsiteX57" fmla="*/ 357254 w 487386"/>
                  <a:gd name="connsiteY57" fmla="*/ 1023673 h 2330989"/>
                  <a:gd name="connsiteX58" fmla="*/ 357254 w 487386"/>
                  <a:gd name="connsiteY58" fmla="*/ 952025 h 2330989"/>
                  <a:gd name="connsiteX59" fmla="*/ 286589 w 487386"/>
                  <a:gd name="connsiteY59" fmla="*/ 952025 h 2330989"/>
                  <a:gd name="connsiteX60" fmla="*/ 382772 w 487386"/>
                  <a:gd name="connsiteY60" fmla="*/ 854860 h 2330989"/>
                  <a:gd name="connsiteX61" fmla="*/ 382772 w 487386"/>
                  <a:gd name="connsiteY61" fmla="*/ 927489 h 2330989"/>
                  <a:gd name="connsiteX62" fmla="*/ 452457 w 487386"/>
                  <a:gd name="connsiteY62" fmla="*/ 927489 h 2330989"/>
                  <a:gd name="connsiteX63" fmla="*/ 452457 w 487386"/>
                  <a:gd name="connsiteY63" fmla="*/ 854860 h 2330989"/>
                  <a:gd name="connsiteX64" fmla="*/ 382772 w 487386"/>
                  <a:gd name="connsiteY64" fmla="*/ 854860 h 2330989"/>
                  <a:gd name="connsiteX65" fmla="*/ 286589 w 487386"/>
                  <a:gd name="connsiteY65" fmla="*/ 853878 h 2330989"/>
                  <a:gd name="connsiteX66" fmla="*/ 286589 w 487386"/>
                  <a:gd name="connsiteY66" fmla="*/ 927489 h 2330989"/>
                  <a:gd name="connsiteX67" fmla="*/ 355291 w 487386"/>
                  <a:gd name="connsiteY67" fmla="*/ 927489 h 2330989"/>
                  <a:gd name="connsiteX68" fmla="*/ 355291 w 487386"/>
                  <a:gd name="connsiteY68" fmla="*/ 853878 h 2330989"/>
                  <a:gd name="connsiteX69" fmla="*/ 286589 w 487386"/>
                  <a:gd name="connsiteY69" fmla="*/ 853878 h 2330989"/>
                  <a:gd name="connsiteX70" fmla="*/ 384735 w 487386"/>
                  <a:gd name="connsiteY70" fmla="*/ 756713 h 2330989"/>
                  <a:gd name="connsiteX71" fmla="*/ 384735 w 487386"/>
                  <a:gd name="connsiteY71" fmla="*/ 829342 h 2330989"/>
                  <a:gd name="connsiteX72" fmla="*/ 453438 w 487386"/>
                  <a:gd name="connsiteY72" fmla="*/ 829342 h 2330989"/>
                  <a:gd name="connsiteX73" fmla="*/ 453438 w 487386"/>
                  <a:gd name="connsiteY73" fmla="*/ 756713 h 2330989"/>
                  <a:gd name="connsiteX74" fmla="*/ 384735 w 487386"/>
                  <a:gd name="connsiteY74" fmla="*/ 756713 h 2330989"/>
                  <a:gd name="connsiteX75" fmla="*/ 130535 w 487386"/>
                  <a:gd name="connsiteY75" fmla="*/ 756713 h 2330989"/>
                  <a:gd name="connsiteX76" fmla="*/ 130535 w 487386"/>
                  <a:gd name="connsiteY76" fmla="*/ 829342 h 2330989"/>
                  <a:gd name="connsiteX77" fmla="*/ 357254 w 487386"/>
                  <a:gd name="connsiteY77" fmla="*/ 829342 h 2330989"/>
                  <a:gd name="connsiteX78" fmla="*/ 357254 w 487386"/>
                  <a:gd name="connsiteY78" fmla="*/ 756713 h 2330989"/>
                  <a:gd name="connsiteX79" fmla="*/ 130535 w 487386"/>
                  <a:gd name="connsiteY79" fmla="*/ 756713 h 2330989"/>
                  <a:gd name="connsiteX80" fmla="*/ 32388 w 487386"/>
                  <a:gd name="connsiteY80" fmla="*/ 755731 h 2330989"/>
                  <a:gd name="connsiteX81" fmla="*/ 32388 w 487386"/>
                  <a:gd name="connsiteY81" fmla="*/ 830323 h 2330989"/>
                  <a:gd name="connsiteX82" fmla="*/ 102073 w 487386"/>
                  <a:gd name="connsiteY82" fmla="*/ 830323 h 2330989"/>
                  <a:gd name="connsiteX83" fmla="*/ 102073 w 487386"/>
                  <a:gd name="connsiteY83" fmla="*/ 755731 h 2330989"/>
                  <a:gd name="connsiteX84" fmla="*/ 32388 w 487386"/>
                  <a:gd name="connsiteY84" fmla="*/ 755731 h 2330989"/>
                  <a:gd name="connsiteX85" fmla="*/ 382772 w 487386"/>
                  <a:gd name="connsiteY85" fmla="*/ 658566 h 2330989"/>
                  <a:gd name="connsiteX86" fmla="*/ 382772 w 487386"/>
                  <a:gd name="connsiteY86" fmla="*/ 733158 h 2330989"/>
                  <a:gd name="connsiteX87" fmla="*/ 452457 w 487386"/>
                  <a:gd name="connsiteY87" fmla="*/ 733158 h 2330989"/>
                  <a:gd name="connsiteX88" fmla="*/ 452457 w 487386"/>
                  <a:gd name="connsiteY88" fmla="*/ 658566 h 2330989"/>
                  <a:gd name="connsiteX89" fmla="*/ 382772 w 487386"/>
                  <a:gd name="connsiteY89" fmla="*/ 658566 h 2330989"/>
                  <a:gd name="connsiteX90" fmla="*/ 31407 w 487386"/>
                  <a:gd name="connsiteY90" fmla="*/ 658566 h 2330989"/>
                  <a:gd name="connsiteX91" fmla="*/ 31407 w 487386"/>
                  <a:gd name="connsiteY91" fmla="*/ 735121 h 2330989"/>
                  <a:gd name="connsiteX92" fmla="*/ 259108 w 487386"/>
                  <a:gd name="connsiteY92" fmla="*/ 735121 h 2330989"/>
                  <a:gd name="connsiteX93" fmla="*/ 259108 w 487386"/>
                  <a:gd name="connsiteY93" fmla="*/ 658566 h 2330989"/>
                  <a:gd name="connsiteX94" fmla="*/ 31407 w 487386"/>
                  <a:gd name="connsiteY94" fmla="*/ 658566 h 2330989"/>
                  <a:gd name="connsiteX95" fmla="*/ 226720 w 487386"/>
                  <a:gd name="connsiteY95" fmla="*/ 561400 h 2330989"/>
                  <a:gd name="connsiteX96" fmla="*/ 226720 w 487386"/>
                  <a:gd name="connsiteY96" fmla="*/ 638937 h 2330989"/>
                  <a:gd name="connsiteX97" fmla="*/ 451475 w 487386"/>
                  <a:gd name="connsiteY97" fmla="*/ 638937 h 2330989"/>
                  <a:gd name="connsiteX98" fmla="*/ 451475 w 487386"/>
                  <a:gd name="connsiteY98" fmla="*/ 561400 h 2330989"/>
                  <a:gd name="connsiteX99" fmla="*/ 226720 w 487386"/>
                  <a:gd name="connsiteY99" fmla="*/ 561400 h 2330989"/>
                  <a:gd name="connsiteX100" fmla="*/ 128572 w 487386"/>
                  <a:gd name="connsiteY100" fmla="*/ 561400 h 2330989"/>
                  <a:gd name="connsiteX101" fmla="*/ 128572 w 487386"/>
                  <a:gd name="connsiteY101" fmla="*/ 636974 h 2330989"/>
                  <a:gd name="connsiteX102" fmla="*/ 198257 w 487386"/>
                  <a:gd name="connsiteY102" fmla="*/ 636974 h 2330989"/>
                  <a:gd name="connsiteX103" fmla="*/ 198257 w 487386"/>
                  <a:gd name="connsiteY103" fmla="*/ 561400 h 2330989"/>
                  <a:gd name="connsiteX104" fmla="*/ 128572 w 487386"/>
                  <a:gd name="connsiteY104" fmla="*/ 561400 h 2330989"/>
                  <a:gd name="connsiteX105" fmla="*/ 129554 w 487386"/>
                  <a:gd name="connsiteY105" fmla="*/ 464235 h 2330989"/>
                  <a:gd name="connsiteX106" fmla="*/ 129554 w 487386"/>
                  <a:gd name="connsiteY106" fmla="*/ 540790 h 2330989"/>
                  <a:gd name="connsiteX107" fmla="*/ 356272 w 487386"/>
                  <a:gd name="connsiteY107" fmla="*/ 540790 h 2330989"/>
                  <a:gd name="connsiteX108" fmla="*/ 356272 w 487386"/>
                  <a:gd name="connsiteY108" fmla="*/ 464235 h 2330989"/>
                  <a:gd name="connsiteX109" fmla="*/ 129554 w 487386"/>
                  <a:gd name="connsiteY109" fmla="*/ 464235 h 2330989"/>
                  <a:gd name="connsiteX110" fmla="*/ 34352 w 487386"/>
                  <a:gd name="connsiteY110" fmla="*/ 463253 h 2330989"/>
                  <a:gd name="connsiteX111" fmla="*/ 34352 w 487386"/>
                  <a:gd name="connsiteY111" fmla="*/ 539808 h 2330989"/>
                  <a:gd name="connsiteX112" fmla="*/ 102073 w 487386"/>
                  <a:gd name="connsiteY112" fmla="*/ 539808 h 2330989"/>
                  <a:gd name="connsiteX113" fmla="*/ 102073 w 487386"/>
                  <a:gd name="connsiteY113" fmla="*/ 463253 h 2330989"/>
                  <a:gd name="connsiteX114" fmla="*/ 34352 w 487386"/>
                  <a:gd name="connsiteY114" fmla="*/ 463253 h 2330989"/>
                  <a:gd name="connsiteX115" fmla="*/ 384735 w 487386"/>
                  <a:gd name="connsiteY115" fmla="*/ 462272 h 2330989"/>
                  <a:gd name="connsiteX116" fmla="*/ 384735 w 487386"/>
                  <a:gd name="connsiteY116" fmla="*/ 540790 h 2330989"/>
                  <a:gd name="connsiteX117" fmla="*/ 451475 w 487386"/>
                  <a:gd name="connsiteY117" fmla="*/ 540790 h 2330989"/>
                  <a:gd name="connsiteX118" fmla="*/ 451475 w 487386"/>
                  <a:gd name="connsiteY118" fmla="*/ 462272 h 2330989"/>
                  <a:gd name="connsiteX119" fmla="*/ 384735 w 487386"/>
                  <a:gd name="connsiteY119" fmla="*/ 462272 h 2330989"/>
                  <a:gd name="connsiteX120" fmla="*/ 52999 w 487386"/>
                  <a:gd name="connsiteY120" fmla="*/ 286589 h 2330989"/>
                  <a:gd name="connsiteX121" fmla="*/ 52999 w 487386"/>
                  <a:gd name="connsiteY121" fmla="*/ 364126 h 2330989"/>
                  <a:gd name="connsiteX122" fmla="*/ 192368 w 487386"/>
                  <a:gd name="connsiteY122" fmla="*/ 364126 h 2330989"/>
                  <a:gd name="connsiteX123" fmla="*/ 192368 w 487386"/>
                  <a:gd name="connsiteY123" fmla="*/ 286589 h 2330989"/>
                  <a:gd name="connsiteX124" fmla="*/ 52999 w 487386"/>
                  <a:gd name="connsiteY124" fmla="*/ 286589 h 2330989"/>
                  <a:gd name="connsiteX125" fmla="*/ 295422 w 487386"/>
                  <a:gd name="connsiteY125" fmla="*/ 285608 h 2330989"/>
                  <a:gd name="connsiteX126" fmla="*/ 295422 w 487386"/>
                  <a:gd name="connsiteY126" fmla="*/ 364126 h 2330989"/>
                  <a:gd name="connsiteX127" fmla="*/ 434790 w 487386"/>
                  <a:gd name="connsiteY127" fmla="*/ 364126 h 2330989"/>
                  <a:gd name="connsiteX128" fmla="*/ 434790 w 487386"/>
                  <a:gd name="connsiteY128" fmla="*/ 285608 h 2330989"/>
                  <a:gd name="connsiteX129" fmla="*/ 295422 w 487386"/>
                  <a:gd name="connsiteY129" fmla="*/ 285608 h 2330989"/>
                  <a:gd name="connsiteX130" fmla="*/ 51036 w 487386"/>
                  <a:gd name="connsiteY130" fmla="*/ 186479 h 2330989"/>
                  <a:gd name="connsiteX131" fmla="*/ 51036 w 487386"/>
                  <a:gd name="connsiteY131" fmla="*/ 259108 h 2330989"/>
                  <a:gd name="connsiteX132" fmla="*/ 190405 w 487386"/>
                  <a:gd name="connsiteY132" fmla="*/ 259108 h 2330989"/>
                  <a:gd name="connsiteX133" fmla="*/ 190405 w 487386"/>
                  <a:gd name="connsiteY133" fmla="*/ 186479 h 2330989"/>
                  <a:gd name="connsiteX134" fmla="*/ 51036 w 487386"/>
                  <a:gd name="connsiteY134" fmla="*/ 186479 h 2330989"/>
                  <a:gd name="connsiteX135" fmla="*/ 294440 w 487386"/>
                  <a:gd name="connsiteY135" fmla="*/ 185498 h 2330989"/>
                  <a:gd name="connsiteX136" fmla="*/ 294440 w 487386"/>
                  <a:gd name="connsiteY136" fmla="*/ 260090 h 2330989"/>
                  <a:gd name="connsiteX137" fmla="*/ 432828 w 487386"/>
                  <a:gd name="connsiteY137" fmla="*/ 260090 h 2330989"/>
                  <a:gd name="connsiteX138" fmla="*/ 432828 w 487386"/>
                  <a:gd name="connsiteY138" fmla="*/ 185498 h 2330989"/>
                  <a:gd name="connsiteX139" fmla="*/ 294440 w 487386"/>
                  <a:gd name="connsiteY139" fmla="*/ 185498 h 2330989"/>
                  <a:gd name="connsiteX140" fmla="*/ 52999 w 487386"/>
                  <a:gd name="connsiteY140" fmla="*/ 89314 h 2330989"/>
                  <a:gd name="connsiteX141" fmla="*/ 52999 w 487386"/>
                  <a:gd name="connsiteY141" fmla="*/ 158017 h 2330989"/>
                  <a:gd name="connsiteX142" fmla="*/ 191387 w 487386"/>
                  <a:gd name="connsiteY142" fmla="*/ 158017 h 2330989"/>
                  <a:gd name="connsiteX143" fmla="*/ 191387 w 487386"/>
                  <a:gd name="connsiteY143" fmla="*/ 89314 h 2330989"/>
                  <a:gd name="connsiteX144" fmla="*/ 52999 w 487386"/>
                  <a:gd name="connsiteY144" fmla="*/ 89314 h 2330989"/>
                  <a:gd name="connsiteX145" fmla="*/ 296403 w 487386"/>
                  <a:gd name="connsiteY145" fmla="*/ 87351 h 2330989"/>
                  <a:gd name="connsiteX146" fmla="*/ 296403 w 487386"/>
                  <a:gd name="connsiteY146" fmla="*/ 158998 h 2330989"/>
                  <a:gd name="connsiteX147" fmla="*/ 432828 w 487386"/>
                  <a:gd name="connsiteY147" fmla="*/ 158998 h 2330989"/>
                  <a:gd name="connsiteX148" fmla="*/ 432828 w 487386"/>
                  <a:gd name="connsiteY148" fmla="*/ 87351 h 2330989"/>
                  <a:gd name="connsiteX149" fmla="*/ 296403 w 487386"/>
                  <a:gd name="connsiteY149" fmla="*/ 87351 h 2330989"/>
                  <a:gd name="connsiteX150" fmla="*/ 26499 w 487386"/>
                  <a:gd name="connsiteY150" fmla="*/ 0 h 2330989"/>
                  <a:gd name="connsiteX151" fmla="*/ 219849 w 487386"/>
                  <a:gd name="connsiteY151" fmla="*/ 0 h 2330989"/>
                  <a:gd name="connsiteX152" fmla="*/ 219849 w 487386"/>
                  <a:gd name="connsiteY152" fmla="*/ 111888 h 2330989"/>
                  <a:gd name="connsiteX153" fmla="*/ 219849 w 487386"/>
                  <a:gd name="connsiteY153" fmla="*/ 337625 h 2330989"/>
                  <a:gd name="connsiteX154" fmla="*/ 263033 w 487386"/>
                  <a:gd name="connsiteY154" fmla="*/ 366088 h 2330989"/>
                  <a:gd name="connsiteX155" fmla="*/ 263033 w 487386"/>
                  <a:gd name="connsiteY155" fmla="*/ 2945 h 2330989"/>
                  <a:gd name="connsiteX156" fmla="*/ 461290 w 487386"/>
                  <a:gd name="connsiteY156" fmla="*/ 2945 h 2330989"/>
                  <a:gd name="connsiteX157" fmla="*/ 463253 w 487386"/>
                  <a:gd name="connsiteY157" fmla="*/ 330756 h 2330989"/>
                  <a:gd name="connsiteX158" fmla="*/ 481901 w 487386"/>
                  <a:gd name="connsiteY158" fmla="*/ 1297502 h 2330989"/>
                  <a:gd name="connsiteX159" fmla="*/ 483863 w 487386"/>
                  <a:gd name="connsiteY159" fmla="*/ 2269156 h 2330989"/>
                  <a:gd name="connsiteX160" fmla="*/ 483863 w 487386"/>
                  <a:gd name="connsiteY160" fmla="*/ 2330989 h 2330989"/>
                  <a:gd name="connsiteX161" fmla="*/ 0 w 487386"/>
                  <a:gd name="connsiteY161" fmla="*/ 2330989 h 2330989"/>
                  <a:gd name="connsiteX162" fmla="*/ 0 w 487386"/>
                  <a:gd name="connsiteY162" fmla="*/ 2284859 h 2330989"/>
                  <a:gd name="connsiteX163" fmla="*/ 0 w 487386"/>
                  <a:gd name="connsiteY163" fmla="*/ 421051 h 2330989"/>
                  <a:gd name="connsiteX164" fmla="*/ 26499 w 487386"/>
                  <a:gd name="connsiteY164" fmla="*/ 0 h 2330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</a:cxnLst>
                <a:rect l="l" t="t" r="r" b="b"/>
                <a:pathLst>
                  <a:path w="487386" h="2330989">
                    <a:moveTo>
                      <a:pt x="285608" y="1339706"/>
                    </a:moveTo>
                    <a:cubicBezTo>
                      <a:pt x="285608" y="1366205"/>
                      <a:pt x="285608" y="1388779"/>
                      <a:pt x="285608" y="1414297"/>
                    </a:cubicBezTo>
                    <a:cubicBezTo>
                      <a:pt x="312107" y="1414297"/>
                      <a:pt x="333699" y="1414297"/>
                      <a:pt x="356272" y="1414297"/>
                    </a:cubicBezTo>
                    <a:cubicBezTo>
                      <a:pt x="356272" y="1387797"/>
                      <a:pt x="356272" y="1364242"/>
                      <a:pt x="356272" y="1339706"/>
                    </a:cubicBezTo>
                    <a:cubicBezTo>
                      <a:pt x="331736" y="1339706"/>
                      <a:pt x="309163" y="1339706"/>
                      <a:pt x="285608" y="1339706"/>
                    </a:cubicBezTo>
                    <a:close/>
                    <a:moveTo>
                      <a:pt x="31407" y="1338724"/>
                    </a:moveTo>
                    <a:cubicBezTo>
                      <a:pt x="31407" y="1366205"/>
                      <a:pt x="31407" y="1389760"/>
                      <a:pt x="31407" y="1414297"/>
                    </a:cubicBezTo>
                    <a:cubicBezTo>
                      <a:pt x="108942" y="1414297"/>
                      <a:pt x="183534" y="1414297"/>
                      <a:pt x="258126" y="1414297"/>
                    </a:cubicBezTo>
                    <a:cubicBezTo>
                      <a:pt x="258126" y="1386816"/>
                      <a:pt x="258126" y="1363261"/>
                      <a:pt x="258126" y="1338724"/>
                    </a:cubicBezTo>
                    <a:cubicBezTo>
                      <a:pt x="180590" y="1338724"/>
                      <a:pt x="106980" y="1338724"/>
                      <a:pt x="31407" y="1338724"/>
                    </a:cubicBezTo>
                    <a:close/>
                    <a:moveTo>
                      <a:pt x="385716" y="1245485"/>
                    </a:moveTo>
                    <a:cubicBezTo>
                      <a:pt x="385716" y="1271984"/>
                      <a:pt x="385716" y="1295539"/>
                      <a:pt x="385716" y="1318113"/>
                    </a:cubicBezTo>
                    <a:cubicBezTo>
                      <a:pt x="410253" y="1318113"/>
                      <a:pt x="430864" y="1318113"/>
                      <a:pt x="453438" y="1318113"/>
                    </a:cubicBezTo>
                    <a:cubicBezTo>
                      <a:pt x="453438" y="1293576"/>
                      <a:pt x="453438" y="1271003"/>
                      <a:pt x="453438" y="1245485"/>
                    </a:cubicBezTo>
                    <a:cubicBezTo>
                      <a:pt x="427920" y="1245485"/>
                      <a:pt x="406328" y="1245485"/>
                      <a:pt x="385716" y="1245485"/>
                    </a:cubicBezTo>
                    <a:close/>
                    <a:moveTo>
                      <a:pt x="32388" y="1243522"/>
                    </a:moveTo>
                    <a:cubicBezTo>
                      <a:pt x="32388" y="1270021"/>
                      <a:pt x="32388" y="1292595"/>
                      <a:pt x="32388" y="1318113"/>
                    </a:cubicBezTo>
                    <a:cubicBezTo>
                      <a:pt x="55943" y="1318113"/>
                      <a:pt x="78518" y="1318113"/>
                      <a:pt x="102073" y="1318113"/>
                    </a:cubicBezTo>
                    <a:cubicBezTo>
                      <a:pt x="102073" y="1292595"/>
                      <a:pt x="102073" y="1269040"/>
                      <a:pt x="102073" y="1243522"/>
                    </a:cubicBezTo>
                    <a:cubicBezTo>
                      <a:pt x="77536" y="1243522"/>
                      <a:pt x="55943" y="1243522"/>
                      <a:pt x="32388" y="1243522"/>
                    </a:cubicBezTo>
                    <a:close/>
                    <a:moveTo>
                      <a:pt x="130535" y="1242540"/>
                    </a:moveTo>
                    <a:cubicBezTo>
                      <a:pt x="130535" y="1271003"/>
                      <a:pt x="130535" y="1294558"/>
                      <a:pt x="130535" y="1317131"/>
                    </a:cubicBezTo>
                    <a:cubicBezTo>
                      <a:pt x="208071" y="1317131"/>
                      <a:pt x="281681" y="1317131"/>
                      <a:pt x="356272" y="1317131"/>
                    </a:cubicBezTo>
                    <a:cubicBezTo>
                      <a:pt x="356272" y="1290632"/>
                      <a:pt x="356272" y="1267077"/>
                      <a:pt x="356272" y="1242540"/>
                    </a:cubicBezTo>
                    <a:cubicBezTo>
                      <a:pt x="278737" y="1242540"/>
                      <a:pt x="206108" y="1242540"/>
                      <a:pt x="130535" y="1242540"/>
                    </a:cubicBezTo>
                    <a:close/>
                    <a:moveTo>
                      <a:pt x="128572" y="1149301"/>
                    </a:moveTo>
                    <a:cubicBezTo>
                      <a:pt x="128572" y="1174819"/>
                      <a:pt x="128572" y="1197392"/>
                      <a:pt x="128572" y="1220947"/>
                    </a:cubicBezTo>
                    <a:cubicBezTo>
                      <a:pt x="153109" y="1220947"/>
                      <a:pt x="174701" y="1220947"/>
                      <a:pt x="199237" y="1220947"/>
                    </a:cubicBezTo>
                    <a:cubicBezTo>
                      <a:pt x="199237" y="1193466"/>
                      <a:pt x="199237" y="1171874"/>
                      <a:pt x="199237" y="1149301"/>
                    </a:cubicBezTo>
                    <a:cubicBezTo>
                      <a:pt x="173719" y="1149301"/>
                      <a:pt x="151146" y="1149301"/>
                      <a:pt x="128572" y="1149301"/>
                    </a:cubicBezTo>
                    <a:close/>
                    <a:moveTo>
                      <a:pt x="226720" y="1148319"/>
                    </a:moveTo>
                    <a:cubicBezTo>
                      <a:pt x="226720" y="1174819"/>
                      <a:pt x="226720" y="1196411"/>
                      <a:pt x="226720" y="1219966"/>
                    </a:cubicBezTo>
                    <a:cubicBezTo>
                      <a:pt x="303273" y="1219966"/>
                      <a:pt x="377866" y="1219966"/>
                      <a:pt x="453438" y="1219966"/>
                    </a:cubicBezTo>
                    <a:cubicBezTo>
                      <a:pt x="453438" y="1195429"/>
                      <a:pt x="453438" y="1172856"/>
                      <a:pt x="453438" y="1148319"/>
                    </a:cubicBezTo>
                    <a:cubicBezTo>
                      <a:pt x="373940" y="1148319"/>
                      <a:pt x="300329" y="1148319"/>
                      <a:pt x="226720" y="1148319"/>
                    </a:cubicBezTo>
                    <a:close/>
                    <a:moveTo>
                      <a:pt x="128572" y="1050172"/>
                    </a:moveTo>
                    <a:cubicBezTo>
                      <a:pt x="128572" y="1075690"/>
                      <a:pt x="128572" y="1098264"/>
                      <a:pt x="128572" y="1121820"/>
                    </a:cubicBezTo>
                    <a:cubicBezTo>
                      <a:pt x="206108" y="1121820"/>
                      <a:pt x="280700" y="1121820"/>
                      <a:pt x="357254" y="1121820"/>
                    </a:cubicBezTo>
                    <a:cubicBezTo>
                      <a:pt x="357254" y="1096301"/>
                      <a:pt x="357254" y="1074709"/>
                      <a:pt x="357254" y="1050172"/>
                    </a:cubicBezTo>
                    <a:cubicBezTo>
                      <a:pt x="279719" y="1050172"/>
                      <a:pt x="204145" y="1050172"/>
                      <a:pt x="128572" y="1050172"/>
                    </a:cubicBezTo>
                    <a:close/>
                    <a:moveTo>
                      <a:pt x="32388" y="1050172"/>
                    </a:moveTo>
                    <a:cubicBezTo>
                      <a:pt x="32388" y="1076672"/>
                      <a:pt x="32388" y="1100227"/>
                      <a:pt x="32388" y="1122800"/>
                    </a:cubicBezTo>
                    <a:cubicBezTo>
                      <a:pt x="57906" y="1122800"/>
                      <a:pt x="79498" y="1122800"/>
                      <a:pt x="103055" y="1122800"/>
                    </a:cubicBezTo>
                    <a:cubicBezTo>
                      <a:pt x="103055" y="1097282"/>
                      <a:pt x="103055" y="1074709"/>
                      <a:pt x="103055" y="1050172"/>
                    </a:cubicBezTo>
                    <a:cubicBezTo>
                      <a:pt x="76555" y="1050172"/>
                      <a:pt x="53981" y="1050172"/>
                      <a:pt x="32388" y="1050172"/>
                    </a:cubicBezTo>
                    <a:close/>
                    <a:moveTo>
                      <a:pt x="383754" y="953007"/>
                    </a:moveTo>
                    <a:cubicBezTo>
                      <a:pt x="383754" y="978525"/>
                      <a:pt x="383754" y="1001098"/>
                      <a:pt x="383754" y="1024654"/>
                    </a:cubicBezTo>
                    <a:cubicBezTo>
                      <a:pt x="408291" y="1024654"/>
                      <a:pt x="429883" y="1024654"/>
                      <a:pt x="452457" y="1024654"/>
                    </a:cubicBezTo>
                    <a:cubicBezTo>
                      <a:pt x="452457" y="998154"/>
                      <a:pt x="452457" y="974599"/>
                      <a:pt x="452457" y="953007"/>
                    </a:cubicBezTo>
                    <a:cubicBezTo>
                      <a:pt x="426939" y="953007"/>
                      <a:pt x="405346" y="953007"/>
                      <a:pt x="383754" y="953007"/>
                    </a:cubicBezTo>
                    <a:close/>
                    <a:moveTo>
                      <a:pt x="30425" y="953007"/>
                    </a:moveTo>
                    <a:cubicBezTo>
                      <a:pt x="30425" y="977543"/>
                      <a:pt x="30425" y="998154"/>
                      <a:pt x="30425" y="1023673"/>
                    </a:cubicBezTo>
                    <a:cubicBezTo>
                      <a:pt x="109924" y="1023673"/>
                      <a:pt x="185497" y="1023673"/>
                      <a:pt x="259108" y="1023673"/>
                    </a:cubicBezTo>
                    <a:cubicBezTo>
                      <a:pt x="259108" y="997172"/>
                      <a:pt x="259108" y="975580"/>
                      <a:pt x="259108" y="953007"/>
                    </a:cubicBezTo>
                    <a:cubicBezTo>
                      <a:pt x="181572" y="953007"/>
                      <a:pt x="105999" y="953007"/>
                      <a:pt x="30425" y="953007"/>
                    </a:cubicBezTo>
                    <a:close/>
                    <a:moveTo>
                      <a:pt x="286589" y="952025"/>
                    </a:moveTo>
                    <a:cubicBezTo>
                      <a:pt x="286589" y="977543"/>
                      <a:pt x="286589" y="1001098"/>
                      <a:pt x="286589" y="1023673"/>
                    </a:cubicBezTo>
                    <a:cubicBezTo>
                      <a:pt x="312107" y="1023673"/>
                      <a:pt x="333699" y="1023673"/>
                      <a:pt x="357254" y="1023673"/>
                    </a:cubicBezTo>
                    <a:cubicBezTo>
                      <a:pt x="357254" y="999135"/>
                      <a:pt x="357254" y="977543"/>
                      <a:pt x="357254" y="952025"/>
                    </a:cubicBezTo>
                    <a:cubicBezTo>
                      <a:pt x="330754" y="952025"/>
                      <a:pt x="309163" y="952025"/>
                      <a:pt x="286589" y="952025"/>
                    </a:cubicBezTo>
                    <a:close/>
                    <a:moveTo>
                      <a:pt x="382772" y="854860"/>
                    </a:moveTo>
                    <a:cubicBezTo>
                      <a:pt x="382772" y="879396"/>
                      <a:pt x="382772" y="901970"/>
                      <a:pt x="382772" y="927489"/>
                    </a:cubicBezTo>
                    <a:cubicBezTo>
                      <a:pt x="409272" y="927489"/>
                      <a:pt x="429883" y="927489"/>
                      <a:pt x="452457" y="927489"/>
                    </a:cubicBezTo>
                    <a:cubicBezTo>
                      <a:pt x="452457" y="901970"/>
                      <a:pt x="452457" y="878415"/>
                      <a:pt x="452457" y="854860"/>
                    </a:cubicBezTo>
                    <a:cubicBezTo>
                      <a:pt x="426939" y="854860"/>
                      <a:pt x="405346" y="854860"/>
                      <a:pt x="382772" y="854860"/>
                    </a:cubicBezTo>
                    <a:close/>
                    <a:moveTo>
                      <a:pt x="286589" y="853878"/>
                    </a:moveTo>
                    <a:cubicBezTo>
                      <a:pt x="286589" y="880378"/>
                      <a:pt x="286589" y="902951"/>
                      <a:pt x="286589" y="927489"/>
                    </a:cubicBezTo>
                    <a:cubicBezTo>
                      <a:pt x="311125" y="927489"/>
                      <a:pt x="331736" y="927489"/>
                      <a:pt x="355291" y="927489"/>
                    </a:cubicBezTo>
                    <a:cubicBezTo>
                      <a:pt x="355291" y="901970"/>
                      <a:pt x="355291" y="878415"/>
                      <a:pt x="355291" y="853878"/>
                    </a:cubicBezTo>
                    <a:cubicBezTo>
                      <a:pt x="330754" y="853878"/>
                      <a:pt x="308181" y="853878"/>
                      <a:pt x="286589" y="853878"/>
                    </a:cubicBezTo>
                    <a:close/>
                    <a:moveTo>
                      <a:pt x="384735" y="756713"/>
                    </a:moveTo>
                    <a:cubicBezTo>
                      <a:pt x="384735" y="783212"/>
                      <a:pt x="384735" y="806767"/>
                      <a:pt x="384735" y="829342"/>
                    </a:cubicBezTo>
                    <a:cubicBezTo>
                      <a:pt x="409272" y="829342"/>
                      <a:pt x="429883" y="829342"/>
                      <a:pt x="453438" y="829342"/>
                    </a:cubicBezTo>
                    <a:cubicBezTo>
                      <a:pt x="453438" y="804805"/>
                      <a:pt x="453438" y="783212"/>
                      <a:pt x="453438" y="756713"/>
                    </a:cubicBezTo>
                    <a:cubicBezTo>
                      <a:pt x="427920" y="756713"/>
                      <a:pt x="406328" y="756713"/>
                      <a:pt x="384735" y="756713"/>
                    </a:cubicBezTo>
                    <a:close/>
                    <a:moveTo>
                      <a:pt x="130535" y="756713"/>
                    </a:moveTo>
                    <a:cubicBezTo>
                      <a:pt x="130535" y="784194"/>
                      <a:pt x="130535" y="807749"/>
                      <a:pt x="130535" y="829342"/>
                    </a:cubicBezTo>
                    <a:cubicBezTo>
                      <a:pt x="208071" y="829342"/>
                      <a:pt x="282663" y="829342"/>
                      <a:pt x="357254" y="829342"/>
                    </a:cubicBezTo>
                    <a:cubicBezTo>
                      <a:pt x="357254" y="802842"/>
                      <a:pt x="357254" y="781249"/>
                      <a:pt x="357254" y="756713"/>
                    </a:cubicBezTo>
                    <a:cubicBezTo>
                      <a:pt x="277755" y="756713"/>
                      <a:pt x="203163" y="756713"/>
                      <a:pt x="130535" y="756713"/>
                    </a:cubicBezTo>
                    <a:close/>
                    <a:moveTo>
                      <a:pt x="32388" y="755731"/>
                    </a:moveTo>
                    <a:cubicBezTo>
                      <a:pt x="32388" y="781249"/>
                      <a:pt x="32388" y="804805"/>
                      <a:pt x="32388" y="830323"/>
                    </a:cubicBezTo>
                    <a:cubicBezTo>
                      <a:pt x="56925" y="830323"/>
                      <a:pt x="78518" y="830323"/>
                      <a:pt x="102073" y="830323"/>
                    </a:cubicBezTo>
                    <a:cubicBezTo>
                      <a:pt x="102073" y="803824"/>
                      <a:pt x="102073" y="781249"/>
                      <a:pt x="102073" y="755731"/>
                    </a:cubicBezTo>
                    <a:cubicBezTo>
                      <a:pt x="77536" y="755731"/>
                      <a:pt x="55943" y="755731"/>
                      <a:pt x="32388" y="755731"/>
                    </a:cubicBezTo>
                    <a:close/>
                    <a:moveTo>
                      <a:pt x="382772" y="658566"/>
                    </a:moveTo>
                    <a:cubicBezTo>
                      <a:pt x="382772" y="685065"/>
                      <a:pt x="382772" y="707640"/>
                      <a:pt x="382772" y="733158"/>
                    </a:cubicBezTo>
                    <a:cubicBezTo>
                      <a:pt x="408291" y="733158"/>
                      <a:pt x="429883" y="733158"/>
                      <a:pt x="452457" y="733158"/>
                    </a:cubicBezTo>
                    <a:cubicBezTo>
                      <a:pt x="452457" y="706658"/>
                      <a:pt x="452457" y="683102"/>
                      <a:pt x="452457" y="658566"/>
                    </a:cubicBezTo>
                    <a:cubicBezTo>
                      <a:pt x="427920" y="658566"/>
                      <a:pt x="405346" y="658566"/>
                      <a:pt x="382772" y="658566"/>
                    </a:cubicBezTo>
                    <a:close/>
                    <a:moveTo>
                      <a:pt x="31407" y="658566"/>
                    </a:moveTo>
                    <a:cubicBezTo>
                      <a:pt x="31407" y="684084"/>
                      <a:pt x="31407" y="707640"/>
                      <a:pt x="31407" y="735121"/>
                    </a:cubicBezTo>
                    <a:cubicBezTo>
                      <a:pt x="107962" y="735121"/>
                      <a:pt x="182553" y="735121"/>
                      <a:pt x="259108" y="735121"/>
                    </a:cubicBezTo>
                    <a:cubicBezTo>
                      <a:pt x="259108" y="706658"/>
                      <a:pt x="259108" y="684084"/>
                      <a:pt x="259108" y="658566"/>
                    </a:cubicBezTo>
                    <a:cubicBezTo>
                      <a:pt x="182553" y="658566"/>
                      <a:pt x="107962" y="658566"/>
                      <a:pt x="31407" y="658566"/>
                    </a:cubicBezTo>
                    <a:close/>
                    <a:moveTo>
                      <a:pt x="226720" y="561400"/>
                    </a:moveTo>
                    <a:cubicBezTo>
                      <a:pt x="226720" y="586918"/>
                      <a:pt x="226720" y="610474"/>
                      <a:pt x="226720" y="638937"/>
                    </a:cubicBezTo>
                    <a:cubicBezTo>
                      <a:pt x="304255" y="638937"/>
                      <a:pt x="376884" y="638937"/>
                      <a:pt x="451475" y="638937"/>
                    </a:cubicBezTo>
                    <a:cubicBezTo>
                      <a:pt x="451475" y="611456"/>
                      <a:pt x="451475" y="586918"/>
                      <a:pt x="451475" y="561400"/>
                    </a:cubicBezTo>
                    <a:cubicBezTo>
                      <a:pt x="374921" y="561400"/>
                      <a:pt x="302292" y="561400"/>
                      <a:pt x="226720" y="561400"/>
                    </a:cubicBezTo>
                    <a:close/>
                    <a:moveTo>
                      <a:pt x="128572" y="561400"/>
                    </a:moveTo>
                    <a:cubicBezTo>
                      <a:pt x="128572" y="587900"/>
                      <a:pt x="128572" y="611456"/>
                      <a:pt x="128572" y="636974"/>
                    </a:cubicBezTo>
                    <a:cubicBezTo>
                      <a:pt x="156053" y="636974"/>
                      <a:pt x="177645" y="636974"/>
                      <a:pt x="198257" y="636974"/>
                    </a:cubicBezTo>
                    <a:cubicBezTo>
                      <a:pt x="198257" y="609493"/>
                      <a:pt x="198257" y="585938"/>
                      <a:pt x="198257" y="561400"/>
                    </a:cubicBezTo>
                    <a:cubicBezTo>
                      <a:pt x="173719" y="561400"/>
                      <a:pt x="152128" y="561400"/>
                      <a:pt x="128572" y="561400"/>
                    </a:cubicBezTo>
                    <a:close/>
                    <a:moveTo>
                      <a:pt x="129554" y="464235"/>
                    </a:moveTo>
                    <a:cubicBezTo>
                      <a:pt x="129554" y="489754"/>
                      <a:pt x="129554" y="513309"/>
                      <a:pt x="129554" y="540790"/>
                    </a:cubicBezTo>
                    <a:cubicBezTo>
                      <a:pt x="208071" y="540790"/>
                      <a:pt x="282663" y="540790"/>
                      <a:pt x="356272" y="540790"/>
                    </a:cubicBezTo>
                    <a:cubicBezTo>
                      <a:pt x="356272" y="513309"/>
                      <a:pt x="356272" y="489754"/>
                      <a:pt x="356272" y="464235"/>
                    </a:cubicBezTo>
                    <a:cubicBezTo>
                      <a:pt x="279719" y="464235"/>
                      <a:pt x="205126" y="464235"/>
                      <a:pt x="129554" y="464235"/>
                    </a:cubicBezTo>
                    <a:close/>
                    <a:moveTo>
                      <a:pt x="34352" y="463253"/>
                    </a:moveTo>
                    <a:cubicBezTo>
                      <a:pt x="34352" y="488772"/>
                      <a:pt x="34352" y="514290"/>
                      <a:pt x="34352" y="539808"/>
                    </a:cubicBezTo>
                    <a:cubicBezTo>
                      <a:pt x="58888" y="539808"/>
                      <a:pt x="80480" y="539808"/>
                      <a:pt x="102073" y="539808"/>
                    </a:cubicBezTo>
                    <a:cubicBezTo>
                      <a:pt x="102073" y="512327"/>
                      <a:pt x="102073" y="488772"/>
                      <a:pt x="102073" y="463253"/>
                    </a:cubicBezTo>
                    <a:cubicBezTo>
                      <a:pt x="79498" y="463253"/>
                      <a:pt x="58888" y="463253"/>
                      <a:pt x="34352" y="463253"/>
                    </a:cubicBezTo>
                    <a:close/>
                    <a:moveTo>
                      <a:pt x="384735" y="462272"/>
                    </a:moveTo>
                    <a:cubicBezTo>
                      <a:pt x="384735" y="490734"/>
                      <a:pt x="384735" y="516253"/>
                      <a:pt x="384735" y="540790"/>
                    </a:cubicBezTo>
                    <a:cubicBezTo>
                      <a:pt x="409272" y="540790"/>
                      <a:pt x="430864" y="540790"/>
                      <a:pt x="451475" y="540790"/>
                    </a:cubicBezTo>
                    <a:cubicBezTo>
                      <a:pt x="451475" y="512327"/>
                      <a:pt x="451475" y="487791"/>
                      <a:pt x="451475" y="462272"/>
                    </a:cubicBezTo>
                    <a:cubicBezTo>
                      <a:pt x="427920" y="462272"/>
                      <a:pt x="408291" y="462272"/>
                      <a:pt x="384735" y="462272"/>
                    </a:cubicBezTo>
                    <a:close/>
                    <a:moveTo>
                      <a:pt x="52999" y="286589"/>
                    </a:moveTo>
                    <a:cubicBezTo>
                      <a:pt x="52999" y="316033"/>
                      <a:pt x="52999" y="340570"/>
                      <a:pt x="52999" y="364126"/>
                    </a:cubicBezTo>
                    <a:cubicBezTo>
                      <a:pt x="101091" y="364126"/>
                      <a:pt x="146238" y="364126"/>
                      <a:pt x="192368" y="364126"/>
                    </a:cubicBezTo>
                    <a:cubicBezTo>
                      <a:pt x="192368" y="337625"/>
                      <a:pt x="192368" y="314070"/>
                      <a:pt x="192368" y="286589"/>
                    </a:cubicBezTo>
                    <a:cubicBezTo>
                      <a:pt x="142313" y="286589"/>
                      <a:pt x="97165" y="286589"/>
                      <a:pt x="52999" y="286589"/>
                    </a:cubicBezTo>
                    <a:close/>
                    <a:moveTo>
                      <a:pt x="295422" y="285608"/>
                    </a:moveTo>
                    <a:cubicBezTo>
                      <a:pt x="295422" y="314070"/>
                      <a:pt x="295422" y="339588"/>
                      <a:pt x="295422" y="364126"/>
                    </a:cubicBezTo>
                    <a:cubicBezTo>
                      <a:pt x="343514" y="364126"/>
                      <a:pt x="388661" y="364126"/>
                      <a:pt x="434790" y="364126"/>
                    </a:cubicBezTo>
                    <a:cubicBezTo>
                      <a:pt x="434790" y="337625"/>
                      <a:pt x="434790" y="313089"/>
                      <a:pt x="434790" y="285608"/>
                    </a:cubicBezTo>
                    <a:cubicBezTo>
                      <a:pt x="384735" y="285608"/>
                      <a:pt x="340569" y="285608"/>
                      <a:pt x="295422" y="285608"/>
                    </a:cubicBezTo>
                    <a:close/>
                    <a:moveTo>
                      <a:pt x="51036" y="186479"/>
                    </a:moveTo>
                    <a:cubicBezTo>
                      <a:pt x="51036" y="211997"/>
                      <a:pt x="51036" y="232609"/>
                      <a:pt x="51036" y="259108"/>
                    </a:cubicBezTo>
                    <a:cubicBezTo>
                      <a:pt x="100110" y="259108"/>
                      <a:pt x="144275" y="259108"/>
                      <a:pt x="190405" y="259108"/>
                    </a:cubicBezTo>
                    <a:cubicBezTo>
                      <a:pt x="190405" y="232609"/>
                      <a:pt x="190405" y="209053"/>
                      <a:pt x="190405" y="186479"/>
                    </a:cubicBezTo>
                    <a:cubicBezTo>
                      <a:pt x="142313" y="186479"/>
                      <a:pt x="97165" y="186479"/>
                      <a:pt x="51036" y="186479"/>
                    </a:cubicBezTo>
                    <a:close/>
                    <a:moveTo>
                      <a:pt x="294440" y="185498"/>
                    </a:moveTo>
                    <a:cubicBezTo>
                      <a:pt x="294440" y="211016"/>
                      <a:pt x="294440" y="232609"/>
                      <a:pt x="294440" y="260090"/>
                    </a:cubicBezTo>
                    <a:cubicBezTo>
                      <a:pt x="343514" y="260090"/>
                      <a:pt x="387680" y="260090"/>
                      <a:pt x="432828" y="260090"/>
                    </a:cubicBezTo>
                    <a:cubicBezTo>
                      <a:pt x="432828" y="233590"/>
                      <a:pt x="432828" y="210034"/>
                      <a:pt x="432828" y="185498"/>
                    </a:cubicBezTo>
                    <a:cubicBezTo>
                      <a:pt x="385716" y="185498"/>
                      <a:pt x="340569" y="185498"/>
                      <a:pt x="294440" y="185498"/>
                    </a:cubicBezTo>
                    <a:close/>
                    <a:moveTo>
                      <a:pt x="52999" y="89314"/>
                    </a:moveTo>
                    <a:cubicBezTo>
                      <a:pt x="52999" y="114832"/>
                      <a:pt x="52999" y="136425"/>
                      <a:pt x="52999" y="158017"/>
                    </a:cubicBezTo>
                    <a:cubicBezTo>
                      <a:pt x="101091" y="158017"/>
                      <a:pt x="145257" y="158017"/>
                      <a:pt x="191387" y="158017"/>
                    </a:cubicBezTo>
                    <a:cubicBezTo>
                      <a:pt x="191387" y="134462"/>
                      <a:pt x="191387" y="113850"/>
                      <a:pt x="191387" y="89314"/>
                    </a:cubicBezTo>
                    <a:cubicBezTo>
                      <a:pt x="142313" y="89314"/>
                      <a:pt x="97165" y="89314"/>
                      <a:pt x="52999" y="89314"/>
                    </a:cubicBezTo>
                    <a:close/>
                    <a:moveTo>
                      <a:pt x="296403" y="87351"/>
                    </a:moveTo>
                    <a:cubicBezTo>
                      <a:pt x="296403" y="114832"/>
                      <a:pt x="296403" y="137406"/>
                      <a:pt x="296403" y="158998"/>
                    </a:cubicBezTo>
                    <a:cubicBezTo>
                      <a:pt x="344496" y="158998"/>
                      <a:pt x="388661" y="158998"/>
                      <a:pt x="432828" y="158998"/>
                    </a:cubicBezTo>
                    <a:cubicBezTo>
                      <a:pt x="432828" y="133480"/>
                      <a:pt x="432828" y="110907"/>
                      <a:pt x="432828" y="87351"/>
                    </a:cubicBezTo>
                    <a:cubicBezTo>
                      <a:pt x="386698" y="87351"/>
                      <a:pt x="342532" y="87351"/>
                      <a:pt x="296403" y="87351"/>
                    </a:cubicBezTo>
                    <a:close/>
                    <a:moveTo>
                      <a:pt x="26499" y="0"/>
                    </a:moveTo>
                    <a:cubicBezTo>
                      <a:pt x="91276" y="0"/>
                      <a:pt x="151146" y="0"/>
                      <a:pt x="219849" y="0"/>
                    </a:cubicBezTo>
                    <a:cubicBezTo>
                      <a:pt x="219849" y="38278"/>
                      <a:pt x="219849" y="74592"/>
                      <a:pt x="219849" y="111888"/>
                    </a:cubicBezTo>
                    <a:cubicBezTo>
                      <a:pt x="219849" y="187461"/>
                      <a:pt x="220831" y="262053"/>
                      <a:pt x="219849" y="337625"/>
                    </a:cubicBezTo>
                    <a:cubicBezTo>
                      <a:pt x="218867" y="368051"/>
                      <a:pt x="231626" y="375903"/>
                      <a:pt x="263033" y="366088"/>
                    </a:cubicBezTo>
                    <a:cubicBezTo>
                      <a:pt x="263033" y="247330"/>
                      <a:pt x="263033" y="126610"/>
                      <a:pt x="263033" y="2945"/>
                    </a:cubicBezTo>
                    <a:cubicBezTo>
                      <a:pt x="329773" y="2945"/>
                      <a:pt x="392587" y="2945"/>
                      <a:pt x="461290" y="2945"/>
                    </a:cubicBezTo>
                    <a:cubicBezTo>
                      <a:pt x="461290" y="112869"/>
                      <a:pt x="448530" y="223775"/>
                      <a:pt x="463253" y="330756"/>
                    </a:cubicBezTo>
                    <a:cubicBezTo>
                      <a:pt x="508400" y="652677"/>
                      <a:pt x="475030" y="975580"/>
                      <a:pt x="481901" y="1297502"/>
                    </a:cubicBezTo>
                    <a:cubicBezTo>
                      <a:pt x="488771" y="1621387"/>
                      <a:pt x="483863" y="1945271"/>
                      <a:pt x="483863" y="2269156"/>
                    </a:cubicBezTo>
                    <a:cubicBezTo>
                      <a:pt x="483863" y="2288785"/>
                      <a:pt x="483863" y="2308415"/>
                      <a:pt x="483863" y="2330989"/>
                    </a:cubicBezTo>
                    <a:cubicBezTo>
                      <a:pt x="322902" y="2330989"/>
                      <a:pt x="164887" y="2330989"/>
                      <a:pt x="0" y="2330989"/>
                    </a:cubicBezTo>
                    <a:cubicBezTo>
                      <a:pt x="0" y="2315285"/>
                      <a:pt x="0" y="2299582"/>
                      <a:pt x="0" y="2284859"/>
                    </a:cubicBezTo>
                    <a:cubicBezTo>
                      <a:pt x="0" y="1663590"/>
                      <a:pt x="0" y="1042320"/>
                      <a:pt x="0" y="421051"/>
                    </a:cubicBezTo>
                    <a:cubicBezTo>
                      <a:pt x="45148" y="282663"/>
                      <a:pt x="12759" y="142314"/>
                      <a:pt x="26499" y="0"/>
                    </a:cubicBezTo>
                    <a:close/>
                  </a:path>
                </a:pathLst>
              </a:custGeom>
              <a:solidFill>
                <a:srgbClr val="00B050"/>
              </a:solidFill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defTabSz="685800">
                  <a:defRPr/>
                </a:pPr>
                <a:endParaRPr lang="en-US" sz="1400" kern="0" dirty="0" smtClea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59" name="Freeform: Shape 176">
                <a:extLst>
                  <a:ext uri="{FF2B5EF4-FFF2-40B4-BE49-F238E27FC236}">
                    <a16:creationId xmlns="" xmlns:a16="http://schemas.microsoft.com/office/drawing/2014/main" id="{346E5E6A-113C-4A8F-8850-0431BA324C81}"/>
                  </a:ext>
                </a:extLst>
              </p:cNvPr>
              <p:cNvSpPr/>
              <p:nvPr/>
            </p:nvSpPr>
            <p:spPr>
              <a:xfrm>
                <a:off x="7034837" y="2159409"/>
                <a:ext cx="252773" cy="1597499"/>
              </a:xfrm>
              <a:custGeom>
                <a:avLst/>
                <a:gdLst>
                  <a:gd name="connsiteX0" fmla="*/ 94664 w 252773"/>
                  <a:gd name="connsiteY0" fmla="*/ 1169580 h 1597499"/>
                  <a:gd name="connsiteX1" fmla="*/ 94664 w 252773"/>
                  <a:gd name="connsiteY1" fmla="*/ 1232327 h 1597499"/>
                  <a:gd name="connsiteX2" fmla="*/ 158109 w 252773"/>
                  <a:gd name="connsiteY2" fmla="*/ 1232327 h 1597499"/>
                  <a:gd name="connsiteX3" fmla="*/ 158109 w 252773"/>
                  <a:gd name="connsiteY3" fmla="*/ 1169580 h 1597499"/>
                  <a:gd name="connsiteX4" fmla="*/ 94664 w 252773"/>
                  <a:gd name="connsiteY4" fmla="*/ 1169580 h 1597499"/>
                  <a:gd name="connsiteX5" fmla="*/ 175733 w 252773"/>
                  <a:gd name="connsiteY5" fmla="*/ 1168551 h 1597499"/>
                  <a:gd name="connsiteX6" fmla="*/ 175733 w 252773"/>
                  <a:gd name="connsiteY6" fmla="*/ 1231813 h 1597499"/>
                  <a:gd name="connsiteX7" fmla="*/ 237667 w 252773"/>
                  <a:gd name="connsiteY7" fmla="*/ 1231813 h 1597499"/>
                  <a:gd name="connsiteX8" fmla="*/ 237667 w 252773"/>
                  <a:gd name="connsiteY8" fmla="*/ 1168551 h 1597499"/>
                  <a:gd name="connsiteX9" fmla="*/ 175733 w 252773"/>
                  <a:gd name="connsiteY9" fmla="*/ 1168551 h 1597499"/>
                  <a:gd name="connsiteX10" fmla="*/ 95168 w 252773"/>
                  <a:gd name="connsiteY10" fmla="*/ 1090888 h 1597499"/>
                  <a:gd name="connsiteX11" fmla="*/ 95168 w 252773"/>
                  <a:gd name="connsiteY11" fmla="*/ 1153636 h 1597499"/>
                  <a:gd name="connsiteX12" fmla="*/ 157605 w 252773"/>
                  <a:gd name="connsiteY12" fmla="*/ 1153636 h 1597499"/>
                  <a:gd name="connsiteX13" fmla="*/ 157605 w 252773"/>
                  <a:gd name="connsiteY13" fmla="*/ 1090888 h 1597499"/>
                  <a:gd name="connsiteX14" fmla="*/ 95168 w 252773"/>
                  <a:gd name="connsiteY14" fmla="*/ 1090888 h 1597499"/>
                  <a:gd name="connsiteX15" fmla="*/ 15106 w 252773"/>
                  <a:gd name="connsiteY15" fmla="*/ 1090888 h 1597499"/>
                  <a:gd name="connsiteX16" fmla="*/ 15106 w 252773"/>
                  <a:gd name="connsiteY16" fmla="*/ 1153636 h 1597499"/>
                  <a:gd name="connsiteX17" fmla="*/ 77544 w 252773"/>
                  <a:gd name="connsiteY17" fmla="*/ 1153636 h 1597499"/>
                  <a:gd name="connsiteX18" fmla="*/ 77544 w 252773"/>
                  <a:gd name="connsiteY18" fmla="*/ 1090888 h 1597499"/>
                  <a:gd name="connsiteX19" fmla="*/ 15106 w 252773"/>
                  <a:gd name="connsiteY19" fmla="*/ 1090888 h 1597499"/>
                  <a:gd name="connsiteX20" fmla="*/ 95671 w 252773"/>
                  <a:gd name="connsiteY20" fmla="*/ 1009110 h 1597499"/>
                  <a:gd name="connsiteX21" fmla="*/ 95671 w 252773"/>
                  <a:gd name="connsiteY21" fmla="*/ 1072886 h 1597499"/>
                  <a:gd name="connsiteX22" fmla="*/ 157605 w 252773"/>
                  <a:gd name="connsiteY22" fmla="*/ 1072886 h 1597499"/>
                  <a:gd name="connsiteX23" fmla="*/ 157605 w 252773"/>
                  <a:gd name="connsiteY23" fmla="*/ 1009110 h 1597499"/>
                  <a:gd name="connsiteX24" fmla="*/ 95671 w 252773"/>
                  <a:gd name="connsiteY24" fmla="*/ 1009110 h 1597499"/>
                  <a:gd name="connsiteX25" fmla="*/ 175733 w 252773"/>
                  <a:gd name="connsiteY25" fmla="*/ 1008595 h 1597499"/>
                  <a:gd name="connsiteX26" fmla="*/ 175733 w 252773"/>
                  <a:gd name="connsiteY26" fmla="*/ 1072371 h 1597499"/>
                  <a:gd name="connsiteX27" fmla="*/ 238674 w 252773"/>
                  <a:gd name="connsiteY27" fmla="*/ 1072371 h 1597499"/>
                  <a:gd name="connsiteX28" fmla="*/ 238674 w 252773"/>
                  <a:gd name="connsiteY28" fmla="*/ 1008595 h 1597499"/>
                  <a:gd name="connsiteX29" fmla="*/ 175733 w 252773"/>
                  <a:gd name="connsiteY29" fmla="*/ 1008595 h 1597499"/>
                  <a:gd name="connsiteX30" fmla="*/ 175733 w 252773"/>
                  <a:gd name="connsiteY30" fmla="*/ 929389 h 1597499"/>
                  <a:gd name="connsiteX31" fmla="*/ 175733 w 252773"/>
                  <a:gd name="connsiteY31" fmla="*/ 992651 h 1597499"/>
                  <a:gd name="connsiteX32" fmla="*/ 239178 w 252773"/>
                  <a:gd name="connsiteY32" fmla="*/ 992651 h 1597499"/>
                  <a:gd name="connsiteX33" fmla="*/ 239178 w 252773"/>
                  <a:gd name="connsiteY33" fmla="*/ 929389 h 1597499"/>
                  <a:gd name="connsiteX34" fmla="*/ 175733 w 252773"/>
                  <a:gd name="connsiteY34" fmla="*/ 929389 h 1597499"/>
                  <a:gd name="connsiteX35" fmla="*/ 95671 w 252773"/>
                  <a:gd name="connsiteY35" fmla="*/ 928875 h 1597499"/>
                  <a:gd name="connsiteX36" fmla="*/ 95671 w 252773"/>
                  <a:gd name="connsiteY36" fmla="*/ 993680 h 1597499"/>
                  <a:gd name="connsiteX37" fmla="*/ 157605 w 252773"/>
                  <a:gd name="connsiteY37" fmla="*/ 993680 h 1597499"/>
                  <a:gd name="connsiteX38" fmla="*/ 157605 w 252773"/>
                  <a:gd name="connsiteY38" fmla="*/ 928875 h 1597499"/>
                  <a:gd name="connsiteX39" fmla="*/ 95671 w 252773"/>
                  <a:gd name="connsiteY39" fmla="*/ 928875 h 1597499"/>
                  <a:gd name="connsiteX40" fmla="*/ 14602 w 252773"/>
                  <a:gd name="connsiteY40" fmla="*/ 928875 h 1597499"/>
                  <a:gd name="connsiteX41" fmla="*/ 14602 w 252773"/>
                  <a:gd name="connsiteY41" fmla="*/ 992651 h 1597499"/>
                  <a:gd name="connsiteX42" fmla="*/ 77544 w 252773"/>
                  <a:gd name="connsiteY42" fmla="*/ 992651 h 1597499"/>
                  <a:gd name="connsiteX43" fmla="*/ 77544 w 252773"/>
                  <a:gd name="connsiteY43" fmla="*/ 928875 h 1597499"/>
                  <a:gd name="connsiteX44" fmla="*/ 14602 w 252773"/>
                  <a:gd name="connsiteY44" fmla="*/ 928875 h 1597499"/>
                  <a:gd name="connsiteX45" fmla="*/ 175229 w 252773"/>
                  <a:gd name="connsiteY45" fmla="*/ 849668 h 1597499"/>
                  <a:gd name="connsiteX46" fmla="*/ 175229 w 252773"/>
                  <a:gd name="connsiteY46" fmla="*/ 912930 h 1597499"/>
                  <a:gd name="connsiteX47" fmla="*/ 238171 w 252773"/>
                  <a:gd name="connsiteY47" fmla="*/ 912930 h 1597499"/>
                  <a:gd name="connsiteX48" fmla="*/ 238171 w 252773"/>
                  <a:gd name="connsiteY48" fmla="*/ 849668 h 1597499"/>
                  <a:gd name="connsiteX49" fmla="*/ 175229 w 252773"/>
                  <a:gd name="connsiteY49" fmla="*/ 849668 h 1597499"/>
                  <a:gd name="connsiteX50" fmla="*/ 94664 w 252773"/>
                  <a:gd name="connsiteY50" fmla="*/ 767890 h 1597499"/>
                  <a:gd name="connsiteX51" fmla="*/ 94664 w 252773"/>
                  <a:gd name="connsiteY51" fmla="*/ 831152 h 1597499"/>
                  <a:gd name="connsiteX52" fmla="*/ 157605 w 252773"/>
                  <a:gd name="connsiteY52" fmla="*/ 831152 h 1597499"/>
                  <a:gd name="connsiteX53" fmla="*/ 157605 w 252773"/>
                  <a:gd name="connsiteY53" fmla="*/ 767890 h 1597499"/>
                  <a:gd name="connsiteX54" fmla="*/ 94664 w 252773"/>
                  <a:gd name="connsiteY54" fmla="*/ 767890 h 1597499"/>
                  <a:gd name="connsiteX55" fmla="*/ 15106 w 252773"/>
                  <a:gd name="connsiteY55" fmla="*/ 767890 h 1597499"/>
                  <a:gd name="connsiteX56" fmla="*/ 15106 w 252773"/>
                  <a:gd name="connsiteY56" fmla="*/ 831152 h 1597499"/>
                  <a:gd name="connsiteX57" fmla="*/ 77040 w 252773"/>
                  <a:gd name="connsiteY57" fmla="*/ 831152 h 1597499"/>
                  <a:gd name="connsiteX58" fmla="*/ 77040 w 252773"/>
                  <a:gd name="connsiteY58" fmla="*/ 767890 h 1597499"/>
                  <a:gd name="connsiteX59" fmla="*/ 15106 w 252773"/>
                  <a:gd name="connsiteY59" fmla="*/ 767890 h 1597499"/>
                  <a:gd name="connsiteX60" fmla="*/ 175229 w 252773"/>
                  <a:gd name="connsiteY60" fmla="*/ 767376 h 1597499"/>
                  <a:gd name="connsiteX61" fmla="*/ 175229 w 252773"/>
                  <a:gd name="connsiteY61" fmla="*/ 831667 h 1597499"/>
                  <a:gd name="connsiteX62" fmla="*/ 238171 w 252773"/>
                  <a:gd name="connsiteY62" fmla="*/ 831667 h 1597499"/>
                  <a:gd name="connsiteX63" fmla="*/ 238171 w 252773"/>
                  <a:gd name="connsiteY63" fmla="*/ 767376 h 1597499"/>
                  <a:gd name="connsiteX64" fmla="*/ 175229 w 252773"/>
                  <a:gd name="connsiteY64" fmla="*/ 767376 h 1597499"/>
                  <a:gd name="connsiteX65" fmla="*/ 175229 w 252773"/>
                  <a:gd name="connsiteY65" fmla="*/ 689712 h 1597499"/>
                  <a:gd name="connsiteX66" fmla="*/ 175229 w 252773"/>
                  <a:gd name="connsiteY66" fmla="*/ 752975 h 1597499"/>
                  <a:gd name="connsiteX67" fmla="*/ 238171 w 252773"/>
                  <a:gd name="connsiteY67" fmla="*/ 752975 h 1597499"/>
                  <a:gd name="connsiteX68" fmla="*/ 238171 w 252773"/>
                  <a:gd name="connsiteY68" fmla="*/ 689712 h 1597499"/>
                  <a:gd name="connsiteX69" fmla="*/ 175229 w 252773"/>
                  <a:gd name="connsiteY69" fmla="*/ 689712 h 1597499"/>
                  <a:gd name="connsiteX70" fmla="*/ 14602 w 252773"/>
                  <a:gd name="connsiteY70" fmla="*/ 689198 h 1597499"/>
                  <a:gd name="connsiteX71" fmla="*/ 14602 w 252773"/>
                  <a:gd name="connsiteY71" fmla="*/ 752460 h 1597499"/>
                  <a:gd name="connsiteX72" fmla="*/ 78048 w 252773"/>
                  <a:gd name="connsiteY72" fmla="*/ 752460 h 1597499"/>
                  <a:gd name="connsiteX73" fmla="*/ 78048 w 252773"/>
                  <a:gd name="connsiteY73" fmla="*/ 689198 h 1597499"/>
                  <a:gd name="connsiteX74" fmla="*/ 14602 w 252773"/>
                  <a:gd name="connsiteY74" fmla="*/ 689198 h 1597499"/>
                  <a:gd name="connsiteX75" fmla="*/ 14099 w 252773"/>
                  <a:gd name="connsiteY75" fmla="*/ 608449 h 1597499"/>
                  <a:gd name="connsiteX76" fmla="*/ 14099 w 252773"/>
                  <a:gd name="connsiteY76" fmla="*/ 671711 h 1597499"/>
                  <a:gd name="connsiteX77" fmla="*/ 78048 w 252773"/>
                  <a:gd name="connsiteY77" fmla="*/ 671711 h 1597499"/>
                  <a:gd name="connsiteX78" fmla="*/ 78048 w 252773"/>
                  <a:gd name="connsiteY78" fmla="*/ 608449 h 1597499"/>
                  <a:gd name="connsiteX79" fmla="*/ 14099 w 252773"/>
                  <a:gd name="connsiteY79" fmla="*/ 608449 h 1597499"/>
                  <a:gd name="connsiteX80" fmla="*/ 95168 w 252773"/>
                  <a:gd name="connsiteY80" fmla="*/ 607935 h 1597499"/>
                  <a:gd name="connsiteX81" fmla="*/ 95168 w 252773"/>
                  <a:gd name="connsiteY81" fmla="*/ 672226 h 1597499"/>
                  <a:gd name="connsiteX82" fmla="*/ 158109 w 252773"/>
                  <a:gd name="connsiteY82" fmla="*/ 672226 h 1597499"/>
                  <a:gd name="connsiteX83" fmla="*/ 158109 w 252773"/>
                  <a:gd name="connsiteY83" fmla="*/ 607935 h 1597499"/>
                  <a:gd name="connsiteX84" fmla="*/ 95168 w 252773"/>
                  <a:gd name="connsiteY84" fmla="*/ 607935 h 1597499"/>
                  <a:gd name="connsiteX85" fmla="*/ 175229 w 252773"/>
                  <a:gd name="connsiteY85" fmla="*/ 528728 h 1597499"/>
                  <a:gd name="connsiteX86" fmla="*/ 175229 w 252773"/>
                  <a:gd name="connsiteY86" fmla="*/ 592505 h 1597499"/>
                  <a:gd name="connsiteX87" fmla="*/ 239178 w 252773"/>
                  <a:gd name="connsiteY87" fmla="*/ 592505 h 1597499"/>
                  <a:gd name="connsiteX88" fmla="*/ 239178 w 252773"/>
                  <a:gd name="connsiteY88" fmla="*/ 528728 h 1597499"/>
                  <a:gd name="connsiteX89" fmla="*/ 175229 w 252773"/>
                  <a:gd name="connsiteY89" fmla="*/ 528728 h 1597499"/>
                  <a:gd name="connsiteX90" fmla="*/ 95168 w 252773"/>
                  <a:gd name="connsiteY90" fmla="*/ 528214 h 1597499"/>
                  <a:gd name="connsiteX91" fmla="*/ 95168 w 252773"/>
                  <a:gd name="connsiteY91" fmla="*/ 593019 h 1597499"/>
                  <a:gd name="connsiteX92" fmla="*/ 158613 w 252773"/>
                  <a:gd name="connsiteY92" fmla="*/ 593019 h 1597499"/>
                  <a:gd name="connsiteX93" fmla="*/ 158613 w 252773"/>
                  <a:gd name="connsiteY93" fmla="*/ 528214 h 1597499"/>
                  <a:gd name="connsiteX94" fmla="*/ 95168 w 252773"/>
                  <a:gd name="connsiteY94" fmla="*/ 528214 h 1597499"/>
                  <a:gd name="connsiteX95" fmla="*/ 15106 w 252773"/>
                  <a:gd name="connsiteY95" fmla="*/ 528214 h 1597499"/>
                  <a:gd name="connsiteX96" fmla="*/ 15106 w 252773"/>
                  <a:gd name="connsiteY96" fmla="*/ 593019 h 1597499"/>
                  <a:gd name="connsiteX97" fmla="*/ 78048 w 252773"/>
                  <a:gd name="connsiteY97" fmla="*/ 593019 h 1597499"/>
                  <a:gd name="connsiteX98" fmla="*/ 78048 w 252773"/>
                  <a:gd name="connsiteY98" fmla="*/ 528214 h 1597499"/>
                  <a:gd name="connsiteX99" fmla="*/ 15106 w 252773"/>
                  <a:gd name="connsiteY99" fmla="*/ 528214 h 1597499"/>
                  <a:gd name="connsiteX100" fmla="*/ 14602 w 252773"/>
                  <a:gd name="connsiteY100" fmla="*/ 449007 h 1597499"/>
                  <a:gd name="connsiteX101" fmla="*/ 14602 w 252773"/>
                  <a:gd name="connsiteY101" fmla="*/ 512270 h 1597499"/>
                  <a:gd name="connsiteX102" fmla="*/ 77544 w 252773"/>
                  <a:gd name="connsiteY102" fmla="*/ 512270 h 1597499"/>
                  <a:gd name="connsiteX103" fmla="*/ 77544 w 252773"/>
                  <a:gd name="connsiteY103" fmla="*/ 449007 h 1597499"/>
                  <a:gd name="connsiteX104" fmla="*/ 14602 w 252773"/>
                  <a:gd name="connsiteY104" fmla="*/ 449007 h 1597499"/>
                  <a:gd name="connsiteX105" fmla="*/ 94664 w 252773"/>
                  <a:gd name="connsiteY105" fmla="*/ 447979 h 1597499"/>
                  <a:gd name="connsiteX106" fmla="*/ 94664 w 252773"/>
                  <a:gd name="connsiteY106" fmla="*/ 512270 h 1597499"/>
                  <a:gd name="connsiteX107" fmla="*/ 158613 w 252773"/>
                  <a:gd name="connsiteY107" fmla="*/ 512270 h 1597499"/>
                  <a:gd name="connsiteX108" fmla="*/ 158613 w 252773"/>
                  <a:gd name="connsiteY108" fmla="*/ 447979 h 1597499"/>
                  <a:gd name="connsiteX109" fmla="*/ 94664 w 252773"/>
                  <a:gd name="connsiteY109" fmla="*/ 447979 h 1597499"/>
                  <a:gd name="connsiteX110" fmla="*/ 174726 w 252773"/>
                  <a:gd name="connsiteY110" fmla="*/ 368258 h 1597499"/>
                  <a:gd name="connsiteX111" fmla="*/ 174726 w 252773"/>
                  <a:gd name="connsiteY111" fmla="*/ 431006 h 1597499"/>
                  <a:gd name="connsiteX112" fmla="*/ 239178 w 252773"/>
                  <a:gd name="connsiteY112" fmla="*/ 431006 h 1597499"/>
                  <a:gd name="connsiteX113" fmla="*/ 239178 w 252773"/>
                  <a:gd name="connsiteY113" fmla="*/ 368258 h 1597499"/>
                  <a:gd name="connsiteX114" fmla="*/ 174726 w 252773"/>
                  <a:gd name="connsiteY114" fmla="*/ 368258 h 1597499"/>
                  <a:gd name="connsiteX115" fmla="*/ 95168 w 252773"/>
                  <a:gd name="connsiteY115" fmla="*/ 367744 h 1597499"/>
                  <a:gd name="connsiteX116" fmla="*/ 95168 w 252773"/>
                  <a:gd name="connsiteY116" fmla="*/ 431520 h 1597499"/>
                  <a:gd name="connsiteX117" fmla="*/ 158613 w 252773"/>
                  <a:gd name="connsiteY117" fmla="*/ 431520 h 1597499"/>
                  <a:gd name="connsiteX118" fmla="*/ 158613 w 252773"/>
                  <a:gd name="connsiteY118" fmla="*/ 367744 h 1597499"/>
                  <a:gd name="connsiteX119" fmla="*/ 95168 w 252773"/>
                  <a:gd name="connsiteY119" fmla="*/ 367744 h 1597499"/>
                  <a:gd name="connsiteX120" fmla="*/ 0 w 252773"/>
                  <a:gd name="connsiteY120" fmla="*/ 350771 h 1597499"/>
                  <a:gd name="connsiteX121" fmla="*/ 252270 w 252773"/>
                  <a:gd name="connsiteY121" fmla="*/ 350771 h 1597499"/>
                  <a:gd name="connsiteX122" fmla="*/ 252270 w 252773"/>
                  <a:gd name="connsiteY122" fmla="*/ 1597499 h 1597499"/>
                  <a:gd name="connsiteX123" fmla="*/ 0 w 252773"/>
                  <a:gd name="connsiteY123" fmla="*/ 1597499 h 1597499"/>
                  <a:gd name="connsiteX124" fmla="*/ 0 w 252773"/>
                  <a:gd name="connsiteY124" fmla="*/ 350771 h 1597499"/>
                  <a:gd name="connsiteX125" fmla="*/ 134947 w 252773"/>
                  <a:gd name="connsiteY125" fmla="*/ 273107 h 1597499"/>
                  <a:gd name="connsiteX126" fmla="*/ 134947 w 252773"/>
                  <a:gd name="connsiteY126" fmla="*/ 321969 h 1597499"/>
                  <a:gd name="connsiteX127" fmla="*/ 238674 w 252773"/>
                  <a:gd name="connsiteY127" fmla="*/ 321969 h 1597499"/>
                  <a:gd name="connsiteX128" fmla="*/ 238674 w 252773"/>
                  <a:gd name="connsiteY128" fmla="*/ 273107 h 1597499"/>
                  <a:gd name="connsiteX129" fmla="*/ 134947 w 252773"/>
                  <a:gd name="connsiteY129" fmla="*/ 273107 h 1597499"/>
                  <a:gd name="connsiteX130" fmla="*/ 14099 w 252773"/>
                  <a:gd name="connsiteY130" fmla="*/ 271564 h 1597499"/>
                  <a:gd name="connsiteX131" fmla="*/ 14099 w 252773"/>
                  <a:gd name="connsiteY131" fmla="*/ 321969 h 1597499"/>
                  <a:gd name="connsiteX132" fmla="*/ 117827 w 252773"/>
                  <a:gd name="connsiteY132" fmla="*/ 321969 h 1597499"/>
                  <a:gd name="connsiteX133" fmla="*/ 117827 w 252773"/>
                  <a:gd name="connsiteY133" fmla="*/ 271564 h 1597499"/>
                  <a:gd name="connsiteX134" fmla="*/ 66466 w 252773"/>
                  <a:gd name="connsiteY134" fmla="*/ 271564 h 1597499"/>
                  <a:gd name="connsiteX135" fmla="*/ 14099 w 252773"/>
                  <a:gd name="connsiteY135" fmla="*/ 271564 h 1597499"/>
                  <a:gd name="connsiteX136" fmla="*/ 49346 w 252773"/>
                  <a:gd name="connsiteY136" fmla="*/ 209331 h 1597499"/>
                  <a:gd name="connsiteX137" fmla="*/ 17120 w 252773"/>
                  <a:gd name="connsiteY137" fmla="*/ 255106 h 1597499"/>
                  <a:gd name="connsiteX138" fmla="*/ 237164 w 252773"/>
                  <a:gd name="connsiteY138" fmla="*/ 255106 h 1597499"/>
                  <a:gd name="connsiteX139" fmla="*/ 202923 w 252773"/>
                  <a:gd name="connsiteY139" fmla="*/ 209331 h 1597499"/>
                  <a:gd name="connsiteX140" fmla="*/ 49346 w 252773"/>
                  <a:gd name="connsiteY140" fmla="*/ 209331 h 1597499"/>
                  <a:gd name="connsiteX141" fmla="*/ 0 w 252773"/>
                  <a:gd name="connsiteY141" fmla="*/ 190815 h 1597499"/>
                  <a:gd name="connsiteX142" fmla="*/ 252773 w 252773"/>
                  <a:gd name="connsiteY142" fmla="*/ 190815 h 1597499"/>
                  <a:gd name="connsiteX143" fmla="*/ 252773 w 252773"/>
                  <a:gd name="connsiteY143" fmla="*/ 340484 h 1597499"/>
                  <a:gd name="connsiteX144" fmla="*/ 0 w 252773"/>
                  <a:gd name="connsiteY144" fmla="*/ 340484 h 1597499"/>
                  <a:gd name="connsiteX145" fmla="*/ 0 w 252773"/>
                  <a:gd name="connsiteY145" fmla="*/ 190815 h 1597499"/>
                  <a:gd name="connsiteX146" fmla="*/ 31723 w 252773"/>
                  <a:gd name="connsiteY146" fmla="*/ 0 h 1597499"/>
                  <a:gd name="connsiteX147" fmla="*/ 31723 w 252773"/>
                  <a:gd name="connsiteY147" fmla="*/ 120867 h 1597499"/>
                  <a:gd name="connsiteX148" fmla="*/ 95168 w 252773"/>
                  <a:gd name="connsiteY148" fmla="*/ 120867 h 1597499"/>
                  <a:gd name="connsiteX149" fmla="*/ 95168 w 252773"/>
                  <a:gd name="connsiteY149" fmla="*/ 183100 h 1597499"/>
                  <a:gd name="connsiteX150" fmla="*/ 11078 w 252773"/>
                  <a:gd name="connsiteY150" fmla="*/ 183100 h 1597499"/>
                  <a:gd name="connsiteX151" fmla="*/ 24170 w 252773"/>
                  <a:gd name="connsiteY151" fmla="*/ 514 h 1597499"/>
                  <a:gd name="connsiteX152" fmla="*/ 31723 w 252773"/>
                  <a:gd name="connsiteY152" fmla="*/ 0 h 1597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252773" h="1597499">
                    <a:moveTo>
                      <a:pt x="94664" y="1169580"/>
                    </a:moveTo>
                    <a:cubicBezTo>
                      <a:pt x="94664" y="1191696"/>
                      <a:pt x="94664" y="1211754"/>
                      <a:pt x="94664" y="1232327"/>
                    </a:cubicBezTo>
                    <a:cubicBezTo>
                      <a:pt x="115813" y="1232327"/>
                      <a:pt x="135450" y="1232327"/>
                      <a:pt x="158109" y="1232327"/>
                    </a:cubicBezTo>
                    <a:cubicBezTo>
                      <a:pt x="158109" y="1209697"/>
                      <a:pt x="158109" y="1189639"/>
                      <a:pt x="158109" y="1169580"/>
                    </a:cubicBezTo>
                    <a:cubicBezTo>
                      <a:pt x="136457" y="1169580"/>
                      <a:pt x="115813" y="1169580"/>
                      <a:pt x="94664" y="1169580"/>
                    </a:cubicBezTo>
                    <a:close/>
                    <a:moveTo>
                      <a:pt x="175733" y="1168551"/>
                    </a:moveTo>
                    <a:cubicBezTo>
                      <a:pt x="175733" y="1190153"/>
                      <a:pt x="175733" y="1210726"/>
                      <a:pt x="175733" y="1231813"/>
                    </a:cubicBezTo>
                    <a:cubicBezTo>
                      <a:pt x="197385" y="1231813"/>
                      <a:pt x="217022" y="1231813"/>
                      <a:pt x="237667" y="1231813"/>
                    </a:cubicBezTo>
                    <a:cubicBezTo>
                      <a:pt x="237667" y="1210212"/>
                      <a:pt x="237667" y="1189639"/>
                      <a:pt x="237667" y="1168551"/>
                    </a:cubicBezTo>
                    <a:cubicBezTo>
                      <a:pt x="216519" y="1168551"/>
                      <a:pt x="196881" y="1168551"/>
                      <a:pt x="175733" y="1168551"/>
                    </a:cubicBezTo>
                    <a:close/>
                    <a:moveTo>
                      <a:pt x="95168" y="1090888"/>
                    </a:moveTo>
                    <a:cubicBezTo>
                      <a:pt x="95168" y="1112490"/>
                      <a:pt x="95168" y="1132548"/>
                      <a:pt x="95168" y="1153636"/>
                    </a:cubicBezTo>
                    <a:cubicBezTo>
                      <a:pt x="116820" y="1153636"/>
                      <a:pt x="135954" y="1153636"/>
                      <a:pt x="157605" y="1153636"/>
                    </a:cubicBezTo>
                    <a:cubicBezTo>
                      <a:pt x="157605" y="1132548"/>
                      <a:pt x="157605" y="1113004"/>
                      <a:pt x="157605" y="1090888"/>
                    </a:cubicBezTo>
                    <a:cubicBezTo>
                      <a:pt x="135954" y="1090888"/>
                      <a:pt x="115309" y="1090888"/>
                      <a:pt x="95168" y="1090888"/>
                    </a:cubicBezTo>
                    <a:close/>
                    <a:moveTo>
                      <a:pt x="15106" y="1090888"/>
                    </a:moveTo>
                    <a:cubicBezTo>
                      <a:pt x="15106" y="1112490"/>
                      <a:pt x="15106" y="1132548"/>
                      <a:pt x="15106" y="1153636"/>
                    </a:cubicBezTo>
                    <a:cubicBezTo>
                      <a:pt x="36758" y="1153636"/>
                      <a:pt x="56396" y="1153636"/>
                      <a:pt x="77544" y="1153636"/>
                    </a:cubicBezTo>
                    <a:cubicBezTo>
                      <a:pt x="77544" y="1132548"/>
                      <a:pt x="77544" y="1112490"/>
                      <a:pt x="77544" y="1090888"/>
                    </a:cubicBezTo>
                    <a:cubicBezTo>
                      <a:pt x="55389" y="1090888"/>
                      <a:pt x="34744" y="1090888"/>
                      <a:pt x="15106" y="1090888"/>
                    </a:cubicBezTo>
                    <a:close/>
                    <a:moveTo>
                      <a:pt x="95671" y="1009110"/>
                    </a:moveTo>
                    <a:cubicBezTo>
                      <a:pt x="95671" y="1031225"/>
                      <a:pt x="95671" y="1051798"/>
                      <a:pt x="95671" y="1072886"/>
                    </a:cubicBezTo>
                    <a:cubicBezTo>
                      <a:pt x="116820" y="1072886"/>
                      <a:pt x="135954" y="1072886"/>
                      <a:pt x="157605" y="1072886"/>
                    </a:cubicBezTo>
                    <a:cubicBezTo>
                      <a:pt x="157605" y="1050256"/>
                      <a:pt x="157605" y="1029683"/>
                      <a:pt x="157605" y="1009110"/>
                    </a:cubicBezTo>
                    <a:cubicBezTo>
                      <a:pt x="135450" y="1009110"/>
                      <a:pt x="115813" y="1009110"/>
                      <a:pt x="95671" y="1009110"/>
                    </a:cubicBezTo>
                    <a:close/>
                    <a:moveTo>
                      <a:pt x="175733" y="1008595"/>
                    </a:moveTo>
                    <a:cubicBezTo>
                      <a:pt x="175733" y="1030197"/>
                      <a:pt x="175733" y="1050770"/>
                      <a:pt x="175733" y="1072371"/>
                    </a:cubicBezTo>
                    <a:cubicBezTo>
                      <a:pt x="197385" y="1072371"/>
                      <a:pt x="217022" y="1072371"/>
                      <a:pt x="238674" y="1072371"/>
                    </a:cubicBezTo>
                    <a:cubicBezTo>
                      <a:pt x="238674" y="1050770"/>
                      <a:pt x="238674" y="1029683"/>
                      <a:pt x="238674" y="1008595"/>
                    </a:cubicBezTo>
                    <a:cubicBezTo>
                      <a:pt x="216519" y="1008595"/>
                      <a:pt x="196881" y="1008595"/>
                      <a:pt x="175733" y="1008595"/>
                    </a:cubicBezTo>
                    <a:close/>
                    <a:moveTo>
                      <a:pt x="175733" y="929389"/>
                    </a:moveTo>
                    <a:cubicBezTo>
                      <a:pt x="175733" y="951505"/>
                      <a:pt x="175733" y="972078"/>
                      <a:pt x="175733" y="992651"/>
                    </a:cubicBezTo>
                    <a:cubicBezTo>
                      <a:pt x="197888" y="992651"/>
                      <a:pt x="218029" y="992651"/>
                      <a:pt x="239178" y="992651"/>
                    </a:cubicBezTo>
                    <a:cubicBezTo>
                      <a:pt x="239178" y="970535"/>
                      <a:pt x="239178" y="950990"/>
                      <a:pt x="239178" y="929389"/>
                    </a:cubicBezTo>
                    <a:cubicBezTo>
                      <a:pt x="218029" y="929389"/>
                      <a:pt x="196881" y="929389"/>
                      <a:pt x="175733" y="929389"/>
                    </a:cubicBezTo>
                    <a:close/>
                    <a:moveTo>
                      <a:pt x="95671" y="928875"/>
                    </a:moveTo>
                    <a:cubicBezTo>
                      <a:pt x="95671" y="951505"/>
                      <a:pt x="95671" y="972593"/>
                      <a:pt x="95671" y="993680"/>
                    </a:cubicBezTo>
                    <a:cubicBezTo>
                      <a:pt x="116820" y="993680"/>
                      <a:pt x="135954" y="993680"/>
                      <a:pt x="157605" y="993680"/>
                    </a:cubicBezTo>
                    <a:cubicBezTo>
                      <a:pt x="157605" y="970535"/>
                      <a:pt x="157605" y="949448"/>
                      <a:pt x="157605" y="928875"/>
                    </a:cubicBezTo>
                    <a:cubicBezTo>
                      <a:pt x="135450" y="928875"/>
                      <a:pt x="115309" y="928875"/>
                      <a:pt x="95671" y="928875"/>
                    </a:cubicBezTo>
                    <a:close/>
                    <a:moveTo>
                      <a:pt x="14602" y="928875"/>
                    </a:moveTo>
                    <a:cubicBezTo>
                      <a:pt x="14602" y="951505"/>
                      <a:pt x="14602" y="971563"/>
                      <a:pt x="14602" y="992651"/>
                    </a:cubicBezTo>
                    <a:cubicBezTo>
                      <a:pt x="36255" y="992651"/>
                      <a:pt x="56396" y="992651"/>
                      <a:pt x="77544" y="992651"/>
                    </a:cubicBezTo>
                    <a:cubicBezTo>
                      <a:pt x="77544" y="970021"/>
                      <a:pt x="77544" y="949448"/>
                      <a:pt x="77544" y="928875"/>
                    </a:cubicBezTo>
                    <a:cubicBezTo>
                      <a:pt x="55389" y="928875"/>
                      <a:pt x="35247" y="928875"/>
                      <a:pt x="14602" y="928875"/>
                    </a:cubicBezTo>
                    <a:close/>
                    <a:moveTo>
                      <a:pt x="175229" y="849668"/>
                    </a:moveTo>
                    <a:cubicBezTo>
                      <a:pt x="175229" y="871784"/>
                      <a:pt x="175229" y="891843"/>
                      <a:pt x="175229" y="912930"/>
                    </a:cubicBezTo>
                    <a:cubicBezTo>
                      <a:pt x="196881" y="912930"/>
                      <a:pt x="217022" y="912930"/>
                      <a:pt x="238171" y="912930"/>
                    </a:cubicBezTo>
                    <a:cubicBezTo>
                      <a:pt x="238171" y="891328"/>
                      <a:pt x="238171" y="870241"/>
                      <a:pt x="238171" y="849668"/>
                    </a:cubicBezTo>
                    <a:cubicBezTo>
                      <a:pt x="216015" y="849668"/>
                      <a:pt x="195874" y="849668"/>
                      <a:pt x="175229" y="849668"/>
                    </a:cubicBezTo>
                    <a:close/>
                    <a:moveTo>
                      <a:pt x="94664" y="767890"/>
                    </a:moveTo>
                    <a:cubicBezTo>
                      <a:pt x="94664" y="789492"/>
                      <a:pt x="94664" y="809551"/>
                      <a:pt x="94664" y="831152"/>
                    </a:cubicBezTo>
                    <a:cubicBezTo>
                      <a:pt x="116316" y="831152"/>
                      <a:pt x="136457" y="831152"/>
                      <a:pt x="157605" y="831152"/>
                    </a:cubicBezTo>
                    <a:cubicBezTo>
                      <a:pt x="157605" y="809036"/>
                      <a:pt x="157605" y="788463"/>
                      <a:pt x="157605" y="767890"/>
                    </a:cubicBezTo>
                    <a:cubicBezTo>
                      <a:pt x="135450" y="767890"/>
                      <a:pt x="115813" y="767890"/>
                      <a:pt x="94664" y="767890"/>
                    </a:cubicBezTo>
                    <a:close/>
                    <a:moveTo>
                      <a:pt x="15106" y="767890"/>
                    </a:moveTo>
                    <a:cubicBezTo>
                      <a:pt x="15106" y="790006"/>
                      <a:pt x="15106" y="810579"/>
                      <a:pt x="15106" y="831152"/>
                    </a:cubicBezTo>
                    <a:cubicBezTo>
                      <a:pt x="37262" y="831152"/>
                      <a:pt x="56899" y="831152"/>
                      <a:pt x="77040" y="831152"/>
                    </a:cubicBezTo>
                    <a:cubicBezTo>
                      <a:pt x="77040" y="809036"/>
                      <a:pt x="77040" y="788463"/>
                      <a:pt x="77040" y="767890"/>
                    </a:cubicBezTo>
                    <a:cubicBezTo>
                      <a:pt x="54885" y="767890"/>
                      <a:pt x="35247" y="767890"/>
                      <a:pt x="15106" y="767890"/>
                    </a:cubicBezTo>
                    <a:close/>
                    <a:moveTo>
                      <a:pt x="175229" y="767376"/>
                    </a:moveTo>
                    <a:cubicBezTo>
                      <a:pt x="175229" y="788978"/>
                      <a:pt x="175229" y="810065"/>
                      <a:pt x="175229" y="831667"/>
                    </a:cubicBezTo>
                    <a:cubicBezTo>
                      <a:pt x="196881" y="831667"/>
                      <a:pt x="217022" y="831667"/>
                      <a:pt x="238171" y="831667"/>
                    </a:cubicBezTo>
                    <a:cubicBezTo>
                      <a:pt x="238171" y="809551"/>
                      <a:pt x="238171" y="788978"/>
                      <a:pt x="238171" y="767376"/>
                    </a:cubicBezTo>
                    <a:cubicBezTo>
                      <a:pt x="216519" y="767376"/>
                      <a:pt x="196881" y="767376"/>
                      <a:pt x="175229" y="767376"/>
                    </a:cubicBezTo>
                    <a:close/>
                    <a:moveTo>
                      <a:pt x="175229" y="689712"/>
                    </a:moveTo>
                    <a:cubicBezTo>
                      <a:pt x="175229" y="711829"/>
                      <a:pt x="175229" y="731887"/>
                      <a:pt x="175229" y="752975"/>
                    </a:cubicBezTo>
                    <a:cubicBezTo>
                      <a:pt x="196378" y="752975"/>
                      <a:pt x="216519" y="752975"/>
                      <a:pt x="238171" y="752975"/>
                    </a:cubicBezTo>
                    <a:cubicBezTo>
                      <a:pt x="238171" y="730344"/>
                      <a:pt x="238171" y="709771"/>
                      <a:pt x="238171" y="689712"/>
                    </a:cubicBezTo>
                    <a:cubicBezTo>
                      <a:pt x="216015" y="689712"/>
                      <a:pt x="195371" y="689712"/>
                      <a:pt x="175229" y="689712"/>
                    </a:cubicBezTo>
                    <a:close/>
                    <a:moveTo>
                      <a:pt x="14602" y="689198"/>
                    </a:moveTo>
                    <a:cubicBezTo>
                      <a:pt x="14602" y="711314"/>
                      <a:pt x="14602" y="732402"/>
                      <a:pt x="14602" y="752460"/>
                    </a:cubicBezTo>
                    <a:cubicBezTo>
                      <a:pt x="36758" y="752460"/>
                      <a:pt x="56899" y="752460"/>
                      <a:pt x="78048" y="752460"/>
                    </a:cubicBezTo>
                    <a:cubicBezTo>
                      <a:pt x="78048" y="730344"/>
                      <a:pt x="78048" y="710285"/>
                      <a:pt x="78048" y="689198"/>
                    </a:cubicBezTo>
                    <a:cubicBezTo>
                      <a:pt x="56396" y="689198"/>
                      <a:pt x="35751" y="689198"/>
                      <a:pt x="14602" y="689198"/>
                    </a:cubicBezTo>
                    <a:close/>
                    <a:moveTo>
                      <a:pt x="14099" y="608449"/>
                    </a:moveTo>
                    <a:cubicBezTo>
                      <a:pt x="14099" y="630050"/>
                      <a:pt x="14099" y="650109"/>
                      <a:pt x="14099" y="671711"/>
                    </a:cubicBezTo>
                    <a:cubicBezTo>
                      <a:pt x="35751" y="671711"/>
                      <a:pt x="56396" y="671711"/>
                      <a:pt x="78048" y="671711"/>
                    </a:cubicBezTo>
                    <a:cubicBezTo>
                      <a:pt x="78048" y="650109"/>
                      <a:pt x="78048" y="630050"/>
                      <a:pt x="78048" y="608449"/>
                    </a:cubicBezTo>
                    <a:cubicBezTo>
                      <a:pt x="55389" y="608449"/>
                      <a:pt x="35247" y="608449"/>
                      <a:pt x="14099" y="608449"/>
                    </a:cubicBezTo>
                    <a:close/>
                    <a:moveTo>
                      <a:pt x="95168" y="607935"/>
                    </a:moveTo>
                    <a:cubicBezTo>
                      <a:pt x="95168" y="630565"/>
                      <a:pt x="95168" y="651138"/>
                      <a:pt x="95168" y="672226"/>
                    </a:cubicBezTo>
                    <a:cubicBezTo>
                      <a:pt x="116820" y="672226"/>
                      <a:pt x="136961" y="672226"/>
                      <a:pt x="158109" y="672226"/>
                    </a:cubicBezTo>
                    <a:cubicBezTo>
                      <a:pt x="158109" y="650109"/>
                      <a:pt x="158109" y="629536"/>
                      <a:pt x="158109" y="607935"/>
                    </a:cubicBezTo>
                    <a:cubicBezTo>
                      <a:pt x="136961" y="607935"/>
                      <a:pt x="116820" y="607935"/>
                      <a:pt x="95168" y="607935"/>
                    </a:cubicBezTo>
                    <a:close/>
                    <a:moveTo>
                      <a:pt x="175229" y="528728"/>
                    </a:moveTo>
                    <a:cubicBezTo>
                      <a:pt x="175229" y="550844"/>
                      <a:pt x="175229" y="571417"/>
                      <a:pt x="175229" y="592505"/>
                    </a:cubicBezTo>
                    <a:cubicBezTo>
                      <a:pt x="196378" y="592505"/>
                      <a:pt x="216519" y="592505"/>
                      <a:pt x="239178" y="592505"/>
                    </a:cubicBezTo>
                    <a:cubicBezTo>
                      <a:pt x="239178" y="570388"/>
                      <a:pt x="239178" y="550330"/>
                      <a:pt x="239178" y="528728"/>
                    </a:cubicBezTo>
                    <a:cubicBezTo>
                      <a:pt x="217526" y="528728"/>
                      <a:pt x="196378" y="528728"/>
                      <a:pt x="175229" y="528728"/>
                    </a:cubicBezTo>
                    <a:close/>
                    <a:moveTo>
                      <a:pt x="95168" y="528214"/>
                    </a:moveTo>
                    <a:cubicBezTo>
                      <a:pt x="95168" y="550844"/>
                      <a:pt x="95168" y="571417"/>
                      <a:pt x="95168" y="593019"/>
                    </a:cubicBezTo>
                    <a:cubicBezTo>
                      <a:pt x="116820" y="593019"/>
                      <a:pt x="136457" y="593019"/>
                      <a:pt x="158613" y="593019"/>
                    </a:cubicBezTo>
                    <a:cubicBezTo>
                      <a:pt x="158613" y="569874"/>
                      <a:pt x="158613" y="549815"/>
                      <a:pt x="158613" y="528214"/>
                    </a:cubicBezTo>
                    <a:cubicBezTo>
                      <a:pt x="136457" y="528214"/>
                      <a:pt x="115813" y="528214"/>
                      <a:pt x="95168" y="528214"/>
                    </a:cubicBezTo>
                    <a:close/>
                    <a:moveTo>
                      <a:pt x="15106" y="528214"/>
                    </a:moveTo>
                    <a:cubicBezTo>
                      <a:pt x="15106" y="551873"/>
                      <a:pt x="15106" y="572446"/>
                      <a:pt x="15106" y="593019"/>
                    </a:cubicBezTo>
                    <a:cubicBezTo>
                      <a:pt x="37262" y="593019"/>
                      <a:pt x="56899" y="593019"/>
                      <a:pt x="78048" y="593019"/>
                    </a:cubicBezTo>
                    <a:cubicBezTo>
                      <a:pt x="78048" y="570903"/>
                      <a:pt x="78048" y="550330"/>
                      <a:pt x="78048" y="528214"/>
                    </a:cubicBezTo>
                    <a:cubicBezTo>
                      <a:pt x="56396" y="528214"/>
                      <a:pt x="36255" y="528214"/>
                      <a:pt x="15106" y="528214"/>
                    </a:cubicBezTo>
                    <a:close/>
                    <a:moveTo>
                      <a:pt x="14602" y="449007"/>
                    </a:moveTo>
                    <a:cubicBezTo>
                      <a:pt x="14602" y="471124"/>
                      <a:pt x="14602" y="491182"/>
                      <a:pt x="14602" y="512270"/>
                    </a:cubicBezTo>
                    <a:cubicBezTo>
                      <a:pt x="35751" y="512270"/>
                      <a:pt x="55389" y="512270"/>
                      <a:pt x="77544" y="512270"/>
                    </a:cubicBezTo>
                    <a:cubicBezTo>
                      <a:pt x="77544" y="489125"/>
                      <a:pt x="77544" y="468552"/>
                      <a:pt x="77544" y="449007"/>
                    </a:cubicBezTo>
                    <a:cubicBezTo>
                      <a:pt x="54885" y="449007"/>
                      <a:pt x="34744" y="449007"/>
                      <a:pt x="14602" y="449007"/>
                    </a:cubicBezTo>
                    <a:close/>
                    <a:moveTo>
                      <a:pt x="94664" y="447979"/>
                    </a:moveTo>
                    <a:cubicBezTo>
                      <a:pt x="94664" y="469580"/>
                      <a:pt x="94664" y="490153"/>
                      <a:pt x="94664" y="512270"/>
                    </a:cubicBezTo>
                    <a:cubicBezTo>
                      <a:pt x="116316" y="512270"/>
                      <a:pt x="136457" y="512270"/>
                      <a:pt x="158613" y="512270"/>
                    </a:cubicBezTo>
                    <a:cubicBezTo>
                      <a:pt x="158613" y="489639"/>
                      <a:pt x="158613" y="469580"/>
                      <a:pt x="158613" y="447979"/>
                    </a:cubicBezTo>
                    <a:cubicBezTo>
                      <a:pt x="136961" y="447979"/>
                      <a:pt x="116316" y="447979"/>
                      <a:pt x="94664" y="447979"/>
                    </a:cubicBezTo>
                    <a:close/>
                    <a:moveTo>
                      <a:pt x="174726" y="368258"/>
                    </a:moveTo>
                    <a:cubicBezTo>
                      <a:pt x="174726" y="389346"/>
                      <a:pt x="174726" y="409404"/>
                      <a:pt x="174726" y="431006"/>
                    </a:cubicBezTo>
                    <a:cubicBezTo>
                      <a:pt x="196378" y="431006"/>
                      <a:pt x="217526" y="431006"/>
                      <a:pt x="239178" y="431006"/>
                    </a:cubicBezTo>
                    <a:cubicBezTo>
                      <a:pt x="239178" y="409919"/>
                      <a:pt x="239178" y="390374"/>
                      <a:pt x="239178" y="368258"/>
                    </a:cubicBezTo>
                    <a:cubicBezTo>
                      <a:pt x="217526" y="368258"/>
                      <a:pt x="196881" y="368258"/>
                      <a:pt x="174726" y="368258"/>
                    </a:cubicBezTo>
                    <a:close/>
                    <a:moveTo>
                      <a:pt x="95168" y="367744"/>
                    </a:moveTo>
                    <a:cubicBezTo>
                      <a:pt x="95168" y="389860"/>
                      <a:pt x="95168" y="410947"/>
                      <a:pt x="95168" y="431520"/>
                    </a:cubicBezTo>
                    <a:cubicBezTo>
                      <a:pt x="117323" y="431520"/>
                      <a:pt x="137968" y="431520"/>
                      <a:pt x="158613" y="431520"/>
                    </a:cubicBezTo>
                    <a:cubicBezTo>
                      <a:pt x="158613" y="409404"/>
                      <a:pt x="158613" y="389346"/>
                      <a:pt x="158613" y="367744"/>
                    </a:cubicBezTo>
                    <a:cubicBezTo>
                      <a:pt x="135954" y="367744"/>
                      <a:pt x="115813" y="367744"/>
                      <a:pt x="95168" y="367744"/>
                    </a:cubicBezTo>
                    <a:close/>
                    <a:moveTo>
                      <a:pt x="0" y="350771"/>
                    </a:moveTo>
                    <a:cubicBezTo>
                      <a:pt x="83083" y="350771"/>
                      <a:pt x="166669" y="350771"/>
                      <a:pt x="252270" y="350771"/>
                    </a:cubicBezTo>
                    <a:cubicBezTo>
                      <a:pt x="252270" y="765319"/>
                      <a:pt x="252270" y="1180380"/>
                      <a:pt x="252270" y="1597499"/>
                    </a:cubicBezTo>
                    <a:cubicBezTo>
                      <a:pt x="167173" y="1597499"/>
                      <a:pt x="84594" y="1597499"/>
                      <a:pt x="0" y="1597499"/>
                    </a:cubicBezTo>
                    <a:cubicBezTo>
                      <a:pt x="0" y="1181923"/>
                      <a:pt x="0" y="767376"/>
                      <a:pt x="0" y="350771"/>
                    </a:cubicBezTo>
                    <a:close/>
                    <a:moveTo>
                      <a:pt x="134947" y="273107"/>
                    </a:moveTo>
                    <a:cubicBezTo>
                      <a:pt x="134947" y="290080"/>
                      <a:pt x="134947" y="306024"/>
                      <a:pt x="134947" y="321969"/>
                    </a:cubicBezTo>
                    <a:cubicBezTo>
                      <a:pt x="170194" y="321969"/>
                      <a:pt x="203931" y="321969"/>
                      <a:pt x="238674" y="321969"/>
                    </a:cubicBezTo>
                    <a:cubicBezTo>
                      <a:pt x="238674" y="304482"/>
                      <a:pt x="238674" y="289566"/>
                      <a:pt x="238674" y="273107"/>
                    </a:cubicBezTo>
                    <a:cubicBezTo>
                      <a:pt x="202420" y="273107"/>
                      <a:pt x="169691" y="273107"/>
                      <a:pt x="134947" y="273107"/>
                    </a:cubicBezTo>
                    <a:close/>
                    <a:moveTo>
                      <a:pt x="14099" y="271564"/>
                    </a:moveTo>
                    <a:cubicBezTo>
                      <a:pt x="14099" y="290080"/>
                      <a:pt x="14099" y="304996"/>
                      <a:pt x="14099" y="321969"/>
                    </a:cubicBezTo>
                    <a:cubicBezTo>
                      <a:pt x="50353" y="321969"/>
                      <a:pt x="83587" y="321969"/>
                      <a:pt x="117827" y="321969"/>
                    </a:cubicBezTo>
                    <a:cubicBezTo>
                      <a:pt x="117827" y="304996"/>
                      <a:pt x="117827" y="289052"/>
                      <a:pt x="117827" y="271564"/>
                    </a:cubicBezTo>
                    <a:cubicBezTo>
                      <a:pt x="99700" y="271564"/>
                      <a:pt x="83083" y="271564"/>
                      <a:pt x="66466" y="271564"/>
                    </a:cubicBezTo>
                    <a:cubicBezTo>
                      <a:pt x="49346" y="271564"/>
                      <a:pt x="32226" y="271564"/>
                      <a:pt x="14099" y="271564"/>
                    </a:cubicBezTo>
                    <a:close/>
                    <a:moveTo>
                      <a:pt x="49346" y="209331"/>
                    </a:moveTo>
                    <a:cubicBezTo>
                      <a:pt x="11581" y="209331"/>
                      <a:pt x="6043" y="217045"/>
                      <a:pt x="17120" y="255106"/>
                    </a:cubicBezTo>
                    <a:cubicBezTo>
                      <a:pt x="90132" y="255106"/>
                      <a:pt x="163145" y="255106"/>
                      <a:pt x="237164" y="255106"/>
                    </a:cubicBezTo>
                    <a:cubicBezTo>
                      <a:pt x="243710" y="212417"/>
                      <a:pt x="241192" y="209331"/>
                      <a:pt x="202923" y="209331"/>
                    </a:cubicBezTo>
                    <a:cubicBezTo>
                      <a:pt x="151563" y="209331"/>
                      <a:pt x="100707" y="209331"/>
                      <a:pt x="49346" y="209331"/>
                    </a:cubicBezTo>
                    <a:close/>
                    <a:moveTo>
                      <a:pt x="0" y="190815"/>
                    </a:moveTo>
                    <a:cubicBezTo>
                      <a:pt x="84594" y="190815"/>
                      <a:pt x="167676" y="190815"/>
                      <a:pt x="252773" y="190815"/>
                    </a:cubicBezTo>
                    <a:cubicBezTo>
                      <a:pt x="252773" y="240704"/>
                      <a:pt x="252773" y="290080"/>
                      <a:pt x="252773" y="340484"/>
                    </a:cubicBezTo>
                    <a:cubicBezTo>
                      <a:pt x="168180" y="340484"/>
                      <a:pt x="84594" y="340484"/>
                      <a:pt x="0" y="340484"/>
                    </a:cubicBezTo>
                    <a:cubicBezTo>
                      <a:pt x="0" y="290594"/>
                      <a:pt x="0" y="241219"/>
                      <a:pt x="0" y="190815"/>
                    </a:cubicBezTo>
                    <a:close/>
                    <a:moveTo>
                      <a:pt x="31723" y="0"/>
                    </a:moveTo>
                    <a:cubicBezTo>
                      <a:pt x="31723" y="39603"/>
                      <a:pt x="31723" y="78691"/>
                      <a:pt x="31723" y="120867"/>
                    </a:cubicBezTo>
                    <a:cubicBezTo>
                      <a:pt x="55892" y="120867"/>
                      <a:pt x="74523" y="120867"/>
                      <a:pt x="95168" y="120867"/>
                    </a:cubicBezTo>
                    <a:cubicBezTo>
                      <a:pt x="95168" y="142468"/>
                      <a:pt x="95168" y="162013"/>
                      <a:pt x="95168" y="183100"/>
                    </a:cubicBezTo>
                    <a:cubicBezTo>
                      <a:pt x="66467" y="183100"/>
                      <a:pt x="40786" y="183100"/>
                      <a:pt x="11078" y="183100"/>
                    </a:cubicBezTo>
                    <a:cubicBezTo>
                      <a:pt x="15610" y="121381"/>
                      <a:pt x="20142" y="61205"/>
                      <a:pt x="24170" y="514"/>
                    </a:cubicBezTo>
                    <a:cubicBezTo>
                      <a:pt x="26688" y="514"/>
                      <a:pt x="29205" y="514"/>
                      <a:pt x="31723" y="0"/>
                    </a:cubicBezTo>
                    <a:close/>
                  </a:path>
                </a:pathLst>
              </a:custGeom>
              <a:solidFill>
                <a:srgbClr val="48DCE2">
                  <a:lumMod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defTabSz="685800">
                  <a:defRPr/>
                </a:pPr>
                <a:endParaRPr lang="en-US" sz="1400" kern="0" dirty="0" smtClea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60" name="Freeform: Shape 65">
                <a:extLst>
                  <a:ext uri="{FF2B5EF4-FFF2-40B4-BE49-F238E27FC236}">
                    <a16:creationId xmlns="" xmlns:a16="http://schemas.microsoft.com/office/drawing/2014/main" id="{695D39F9-71EA-4F56-A66D-4C9E01707329}"/>
                  </a:ext>
                </a:extLst>
              </p:cNvPr>
              <p:cNvSpPr/>
              <p:nvPr/>
            </p:nvSpPr>
            <p:spPr>
              <a:xfrm>
                <a:off x="7336235" y="2262006"/>
                <a:ext cx="427135" cy="1492845"/>
              </a:xfrm>
              <a:custGeom>
                <a:avLst/>
                <a:gdLst>
                  <a:gd name="connsiteX0" fmla="*/ 342995 w 577665"/>
                  <a:gd name="connsiteY0" fmla="*/ 1531565 h 1976576"/>
                  <a:gd name="connsiteX1" fmla="*/ 342995 w 577665"/>
                  <a:gd name="connsiteY1" fmla="*/ 1585857 h 1976576"/>
                  <a:gd name="connsiteX2" fmla="*/ 451295 w 577665"/>
                  <a:gd name="connsiteY2" fmla="*/ 1585857 h 1976576"/>
                  <a:gd name="connsiteX3" fmla="*/ 451295 w 577665"/>
                  <a:gd name="connsiteY3" fmla="*/ 1531565 h 1976576"/>
                  <a:gd name="connsiteX4" fmla="*/ 126370 w 577665"/>
                  <a:gd name="connsiteY4" fmla="*/ 1526871 h 1976576"/>
                  <a:gd name="connsiteX5" fmla="*/ 126370 w 577665"/>
                  <a:gd name="connsiteY5" fmla="*/ 1581163 h 1976576"/>
                  <a:gd name="connsiteX6" fmla="*/ 234670 w 577665"/>
                  <a:gd name="connsiteY6" fmla="*/ 1581163 h 1976576"/>
                  <a:gd name="connsiteX7" fmla="*/ 234670 w 577665"/>
                  <a:gd name="connsiteY7" fmla="*/ 1526871 h 1976576"/>
                  <a:gd name="connsiteX8" fmla="*/ 342995 w 577665"/>
                  <a:gd name="connsiteY8" fmla="*/ 1409581 h 1976576"/>
                  <a:gd name="connsiteX9" fmla="*/ 342995 w 577665"/>
                  <a:gd name="connsiteY9" fmla="*/ 1463873 h 1976576"/>
                  <a:gd name="connsiteX10" fmla="*/ 451295 w 577665"/>
                  <a:gd name="connsiteY10" fmla="*/ 1463873 h 1976576"/>
                  <a:gd name="connsiteX11" fmla="*/ 451295 w 577665"/>
                  <a:gd name="connsiteY11" fmla="*/ 1409581 h 1976576"/>
                  <a:gd name="connsiteX12" fmla="*/ 126370 w 577665"/>
                  <a:gd name="connsiteY12" fmla="*/ 1404887 h 1976576"/>
                  <a:gd name="connsiteX13" fmla="*/ 126370 w 577665"/>
                  <a:gd name="connsiteY13" fmla="*/ 1459180 h 1976576"/>
                  <a:gd name="connsiteX14" fmla="*/ 234670 w 577665"/>
                  <a:gd name="connsiteY14" fmla="*/ 1459180 h 1976576"/>
                  <a:gd name="connsiteX15" fmla="*/ 234670 w 577665"/>
                  <a:gd name="connsiteY15" fmla="*/ 1404887 h 1976576"/>
                  <a:gd name="connsiteX16" fmla="*/ 342995 w 577665"/>
                  <a:gd name="connsiteY16" fmla="*/ 1287599 h 1976576"/>
                  <a:gd name="connsiteX17" fmla="*/ 342995 w 577665"/>
                  <a:gd name="connsiteY17" fmla="*/ 1341892 h 1976576"/>
                  <a:gd name="connsiteX18" fmla="*/ 451295 w 577665"/>
                  <a:gd name="connsiteY18" fmla="*/ 1341892 h 1976576"/>
                  <a:gd name="connsiteX19" fmla="*/ 451295 w 577665"/>
                  <a:gd name="connsiteY19" fmla="*/ 1287599 h 1976576"/>
                  <a:gd name="connsiteX20" fmla="*/ 126370 w 577665"/>
                  <a:gd name="connsiteY20" fmla="*/ 1282905 h 1976576"/>
                  <a:gd name="connsiteX21" fmla="*/ 126370 w 577665"/>
                  <a:gd name="connsiteY21" fmla="*/ 1337198 h 1976576"/>
                  <a:gd name="connsiteX22" fmla="*/ 234670 w 577665"/>
                  <a:gd name="connsiteY22" fmla="*/ 1337198 h 1976576"/>
                  <a:gd name="connsiteX23" fmla="*/ 234670 w 577665"/>
                  <a:gd name="connsiteY23" fmla="*/ 1282905 h 1976576"/>
                  <a:gd name="connsiteX24" fmla="*/ 342995 w 577665"/>
                  <a:gd name="connsiteY24" fmla="*/ 1165617 h 1976576"/>
                  <a:gd name="connsiteX25" fmla="*/ 342995 w 577665"/>
                  <a:gd name="connsiteY25" fmla="*/ 1219910 h 1976576"/>
                  <a:gd name="connsiteX26" fmla="*/ 451295 w 577665"/>
                  <a:gd name="connsiteY26" fmla="*/ 1219910 h 1976576"/>
                  <a:gd name="connsiteX27" fmla="*/ 451295 w 577665"/>
                  <a:gd name="connsiteY27" fmla="*/ 1165617 h 1976576"/>
                  <a:gd name="connsiteX28" fmla="*/ 126370 w 577665"/>
                  <a:gd name="connsiteY28" fmla="*/ 1160924 h 1976576"/>
                  <a:gd name="connsiteX29" fmla="*/ 126370 w 577665"/>
                  <a:gd name="connsiteY29" fmla="*/ 1215216 h 1976576"/>
                  <a:gd name="connsiteX30" fmla="*/ 234670 w 577665"/>
                  <a:gd name="connsiteY30" fmla="*/ 1215216 h 1976576"/>
                  <a:gd name="connsiteX31" fmla="*/ 234670 w 577665"/>
                  <a:gd name="connsiteY31" fmla="*/ 1160924 h 1976576"/>
                  <a:gd name="connsiteX32" fmla="*/ 342995 w 577665"/>
                  <a:gd name="connsiteY32" fmla="*/ 1043636 h 1976576"/>
                  <a:gd name="connsiteX33" fmla="*/ 342995 w 577665"/>
                  <a:gd name="connsiteY33" fmla="*/ 1097928 h 1976576"/>
                  <a:gd name="connsiteX34" fmla="*/ 451295 w 577665"/>
                  <a:gd name="connsiteY34" fmla="*/ 1097928 h 1976576"/>
                  <a:gd name="connsiteX35" fmla="*/ 451295 w 577665"/>
                  <a:gd name="connsiteY35" fmla="*/ 1043636 h 1976576"/>
                  <a:gd name="connsiteX36" fmla="*/ 126370 w 577665"/>
                  <a:gd name="connsiteY36" fmla="*/ 1038942 h 1976576"/>
                  <a:gd name="connsiteX37" fmla="*/ 126370 w 577665"/>
                  <a:gd name="connsiteY37" fmla="*/ 1093234 h 1976576"/>
                  <a:gd name="connsiteX38" fmla="*/ 234670 w 577665"/>
                  <a:gd name="connsiteY38" fmla="*/ 1093234 h 1976576"/>
                  <a:gd name="connsiteX39" fmla="*/ 234670 w 577665"/>
                  <a:gd name="connsiteY39" fmla="*/ 1038942 h 1976576"/>
                  <a:gd name="connsiteX40" fmla="*/ 342995 w 577665"/>
                  <a:gd name="connsiteY40" fmla="*/ 921654 h 1976576"/>
                  <a:gd name="connsiteX41" fmla="*/ 342995 w 577665"/>
                  <a:gd name="connsiteY41" fmla="*/ 975946 h 1976576"/>
                  <a:gd name="connsiteX42" fmla="*/ 451295 w 577665"/>
                  <a:gd name="connsiteY42" fmla="*/ 975946 h 1976576"/>
                  <a:gd name="connsiteX43" fmla="*/ 451295 w 577665"/>
                  <a:gd name="connsiteY43" fmla="*/ 921654 h 1976576"/>
                  <a:gd name="connsiteX44" fmla="*/ 126370 w 577665"/>
                  <a:gd name="connsiteY44" fmla="*/ 916960 h 1976576"/>
                  <a:gd name="connsiteX45" fmla="*/ 126370 w 577665"/>
                  <a:gd name="connsiteY45" fmla="*/ 971252 h 1976576"/>
                  <a:gd name="connsiteX46" fmla="*/ 234670 w 577665"/>
                  <a:gd name="connsiteY46" fmla="*/ 971252 h 1976576"/>
                  <a:gd name="connsiteX47" fmla="*/ 234670 w 577665"/>
                  <a:gd name="connsiteY47" fmla="*/ 916960 h 1976576"/>
                  <a:gd name="connsiteX48" fmla="*/ 342995 w 577665"/>
                  <a:gd name="connsiteY48" fmla="*/ 799672 h 1976576"/>
                  <a:gd name="connsiteX49" fmla="*/ 342995 w 577665"/>
                  <a:gd name="connsiteY49" fmla="*/ 853964 h 1976576"/>
                  <a:gd name="connsiteX50" fmla="*/ 451295 w 577665"/>
                  <a:gd name="connsiteY50" fmla="*/ 853964 h 1976576"/>
                  <a:gd name="connsiteX51" fmla="*/ 451295 w 577665"/>
                  <a:gd name="connsiteY51" fmla="*/ 799672 h 1976576"/>
                  <a:gd name="connsiteX52" fmla="*/ 126370 w 577665"/>
                  <a:gd name="connsiteY52" fmla="*/ 794978 h 1976576"/>
                  <a:gd name="connsiteX53" fmla="*/ 126370 w 577665"/>
                  <a:gd name="connsiteY53" fmla="*/ 849270 h 1976576"/>
                  <a:gd name="connsiteX54" fmla="*/ 234670 w 577665"/>
                  <a:gd name="connsiteY54" fmla="*/ 849270 h 1976576"/>
                  <a:gd name="connsiteX55" fmla="*/ 234670 w 577665"/>
                  <a:gd name="connsiteY55" fmla="*/ 794978 h 1976576"/>
                  <a:gd name="connsiteX56" fmla="*/ 342995 w 577665"/>
                  <a:gd name="connsiteY56" fmla="*/ 677690 h 1976576"/>
                  <a:gd name="connsiteX57" fmla="*/ 342995 w 577665"/>
                  <a:gd name="connsiteY57" fmla="*/ 731982 h 1976576"/>
                  <a:gd name="connsiteX58" fmla="*/ 451295 w 577665"/>
                  <a:gd name="connsiteY58" fmla="*/ 731982 h 1976576"/>
                  <a:gd name="connsiteX59" fmla="*/ 451295 w 577665"/>
                  <a:gd name="connsiteY59" fmla="*/ 677690 h 1976576"/>
                  <a:gd name="connsiteX60" fmla="*/ 126370 w 577665"/>
                  <a:gd name="connsiteY60" fmla="*/ 672996 h 1976576"/>
                  <a:gd name="connsiteX61" fmla="*/ 126370 w 577665"/>
                  <a:gd name="connsiteY61" fmla="*/ 727289 h 1976576"/>
                  <a:gd name="connsiteX62" fmla="*/ 234670 w 577665"/>
                  <a:gd name="connsiteY62" fmla="*/ 727289 h 1976576"/>
                  <a:gd name="connsiteX63" fmla="*/ 234670 w 577665"/>
                  <a:gd name="connsiteY63" fmla="*/ 672996 h 1976576"/>
                  <a:gd name="connsiteX64" fmla="*/ 342995 w 577665"/>
                  <a:gd name="connsiteY64" fmla="*/ 555708 h 1976576"/>
                  <a:gd name="connsiteX65" fmla="*/ 342995 w 577665"/>
                  <a:gd name="connsiteY65" fmla="*/ 610000 h 1976576"/>
                  <a:gd name="connsiteX66" fmla="*/ 451295 w 577665"/>
                  <a:gd name="connsiteY66" fmla="*/ 610000 h 1976576"/>
                  <a:gd name="connsiteX67" fmla="*/ 451295 w 577665"/>
                  <a:gd name="connsiteY67" fmla="*/ 555708 h 1976576"/>
                  <a:gd name="connsiteX68" fmla="*/ 126370 w 577665"/>
                  <a:gd name="connsiteY68" fmla="*/ 551014 h 1976576"/>
                  <a:gd name="connsiteX69" fmla="*/ 126370 w 577665"/>
                  <a:gd name="connsiteY69" fmla="*/ 605307 h 1976576"/>
                  <a:gd name="connsiteX70" fmla="*/ 234670 w 577665"/>
                  <a:gd name="connsiteY70" fmla="*/ 605307 h 1976576"/>
                  <a:gd name="connsiteX71" fmla="*/ 234670 w 577665"/>
                  <a:gd name="connsiteY71" fmla="*/ 551014 h 1976576"/>
                  <a:gd name="connsiteX72" fmla="*/ 342995 w 577665"/>
                  <a:gd name="connsiteY72" fmla="*/ 433726 h 1976576"/>
                  <a:gd name="connsiteX73" fmla="*/ 342995 w 577665"/>
                  <a:gd name="connsiteY73" fmla="*/ 488019 h 1976576"/>
                  <a:gd name="connsiteX74" fmla="*/ 451295 w 577665"/>
                  <a:gd name="connsiteY74" fmla="*/ 488019 h 1976576"/>
                  <a:gd name="connsiteX75" fmla="*/ 451295 w 577665"/>
                  <a:gd name="connsiteY75" fmla="*/ 433726 h 1976576"/>
                  <a:gd name="connsiteX76" fmla="*/ 126370 w 577665"/>
                  <a:gd name="connsiteY76" fmla="*/ 429032 h 1976576"/>
                  <a:gd name="connsiteX77" fmla="*/ 126370 w 577665"/>
                  <a:gd name="connsiteY77" fmla="*/ 483325 h 1976576"/>
                  <a:gd name="connsiteX78" fmla="*/ 234670 w 577665"/>
                  <a:gd name="connsiteY78" fmla="*/ 483325 h 1976576"/>
                  <a:gd name="connsiteX79" fmla="*/ 234670 w 577665"/>
                  <a:gd name="connsiteY79" fmla="*/ 429032 h 1976576"/>
                  <a:gd name="connsiteX80" fmla="*/ 249290 w 577665"/>
                  <a:gd name="connsiteY80" fmla="*/ 0 h 1976576"/>
                  <a:gd name="connsiteX81" fmla="*/ 328376 w 577665"/>
                  <a:gd name="connsiteY81" fmla="*/ 0 h 1976576"/>
                  <a:gd name="connsiteX82" fmla="*/ 328376 w 577665"/>
                  <a:gd name="connsiteY82" fmla="*/ 178763 h 1976576"/>
                  <a:gd name="connsiteX83" fmla="*/ 397145 w 577665"/>
                  <a:gd name="connsiteY83" fmla="*/ 178763 h 1976576"/>
                  <a:gd name="connsiteX84" fmla="*/ 397145 w 577665"/>
                  <a:gd name="connsiteY84" fmla="*/ 299617 h 1976576"/>
                  <a:gd name="connsiteX85" fmla="*/ 577665 w 577665"/>
                  <a:gd name="connsiteY85" fmla="*/ 299617 h 1976576"/>
                  <a:gd name="connsiteX86" fmla="*/ 577665 w 577665"/>
                  <a:gd name="connsiteY86" fmla="*/ 1976576 h 1976576"/>
                  <a:gd name="connsiteX87" fmla="*/ 379083 w 577665"/>
                  <a:gd name="connsiteY87" fmla="*/ 1976576 h 1976576"/>
                  <a:gd name="connsiteX88" fmla="*/ 379083 w 577665"/>
                  <a:gd name="connsiteY88" fmla="*/ 1654427 h 1976576"/>
                  <a:gd name="connsiteX89" fmla="*/ 198582 w 577665"/>
                  <a:gd name="connsiteY89" fmla="*/ 1654427 h 1976576"/>
                  <a:gd name="connsiteX90" fmla="*/ 198582 w 577665"/>
                  <a:gd name="connsiteY90" fmla="*/ 1976576 h 1976576"/>
                  <a:gd name="connsiteX91" fmla="*/ 0 w 577665"/>
                  <a:gd name="connsiteY91" fmla="*/ 1976576 h 1976576"/>
                  <a:gd name="connsiteX92" fmla="*/ 0 w 577665"/>
                  <a:gd name="connsiteY92" fmla="*/ 299617 h 1976576"/>
                  <a:gd name="connsiteX93" fmla="*/ 180520 w 577665"/>
                  <a:gd name="connsiteY93" fmla="*/ 299617 h 1976576"/>
                  <a:gd name="connsiteX94" fmla="*/ 180520 w 577665"/>
                  <a:gd name="connsiteY94" fmla="*/ 178763 h 1976576"/>
                  <a:gd name="connsiteX95" fmla="*/ 249290 w 577665"/>
                  <a:gd name="connsiteY95" fmla="*/ 178763 h 1976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577665" h="1976576">
                    <a:moveTo>
                      <a:pt x="342995" y="1531565"/>
                    </a:moveTo>
                    <a:lnTo>
                      <a:pt x="342995" y="1585857"/>
                    </a:lnTo>
                    <a:lnTo>
                      <a:pt x="451295" y="1585857"/>
                    </a:lnTo>
                    <a:lnTo>
                      <a:pt x="451295" y="1531565"/>
                    </a:lnTo>
                    <a:close/>
                    <a:moveTo>
                      <a:pt x="126370" y="1526871"/>
                    </a:moveTo>
                    <a:lnTo>
                      <a:pt x="126370" y="1581163"/>
                    </a:lnTo>
                    <a:lnTo>
                      <a:pt x="234670" y="1581163"/>
                    </a:lnTo>
                    <a:lnTo>
                      <a:pt x="234670" y="1526871"/>
                    </a:lnTo>
                    <a:close/>
                    <a:moveTo>
                      <a:pt x="342995" y="1409581"/>
                    </a:moveTo>
                    <a:lnTo>
                      <a:pt x="342995" y="1463873"/>
                    </a:lnTo>
                    <a:lnTo>
                      <a:pt x="451295" y="1463873"/>
                    </a:lnTo>
                    <a:lnTo>
                      <a:pt x="451295" y="1409581"/>
                    </a:lnTo>
                    <a:close/>
                    <a:moveTo>
                      <a:pt x="126370" y="1404887"/>
                    </a:moveTo>
                    <a:lnTo>
                      <a:pt x="126370" y="1459180"/>
                    </a:lnTo>
                    <a:lnTo>
                      <a:pt x="234670" y="1459180"/>
                    </a:lnTo>
                    <a:lnTo>
                      <a:pt x="234670" y="1404887"/>
                    </a:lnTo>
                    <a:close/>
                    <a:moveTo>
                      <a:pt x="342995" y="1287599"/>
                    </a:moveTo>
                    <a:lnTo>
                      <a:pt x="342995" y="1341892"/>
                    </a:lnTo>
                    <a:lnTo>
                      <a:pt x="451295" y="1341892"/>
                    </a:lnTo>
                    <a:lnTo>
                      <a:pt x="451295" y="1287599"/>
                    </a:lnTo>
                    <a:close/>
                    <a:moveTo>
                      <a:pt x="126370" y="1282905"/>
                    </a:moveTo>
                    <a:lnTo>
                      <a:pt x="126370" y="1337198"/>
                    </a:lnTo>
                    <a:lnTo>
                      <a:pt x="234670" y="1337198"/>
                    </a:lnTo>
                    <a:lnTo>
                      <a:pt x="234670" y="1282905"/>
                    </a:lnTo>
                    <a:close/>
                    <a:moveTo>
                      <a:pt x="342995" y="1165617"/>
                    </a:moveTo>
                    <a:lnTo>
                      <a:pt x="342995" y="1219910"/>
                    </a:lnTo>
                    <a:lnTo>
                      <a:pt x="451295" y="1219910"/>
                    </a:lnTo>
                    <a:lnTo>
                      <a:pt x="451295" y="1165617"/>
                    </a:lnTo>
                    <a:close/>
                    <a:moveTo>
                      <a:pt x="126370" y="1160924"/>
                    </a:moveTo>
                    <a:lnTo>
                      <a:pt x="126370" y="1215216"/>
                    </a:lnTo>
                    <a:lnTo>
                      <a:pt x="234670" y="1215216"/>
                    </a:lnTo>
                    <a:lnTo>
                      <a:pt x="234670" y="1160924"/>
                    </a:lnTo>
                    <a:close/>
                    <a:moveTo>
                      <a:pt x="342995" y="1043636"/>
                    </a:moveTo>
                    <a:lnTo>
                      <a:pt x="342995" y="1097928"/>
                    </a:lnTo>
                    <a:lnTo>
                      <a:pt x="451295" y="1097928"/>
                    </a:lnTo>
                    <a:lnTo>
                      <a:pt x="451295" y="1043636"/>
                    </a:lnTo>
                    <a:close/>
                    <a:moveTo>
                      <a:pt x="126370" y="1038942"/>
                    </a:moveTo>
                    <a:lnTo>
                      <a:pt x="126370" y="1093234"/>
                    </a:lnTo>
                    <a:lnTo>
                      <a:pt x="234670" y="1093234"/>
                    </a:lnTo>
                    <a:lnTo>
                      <a:pt x="234670" y="1038942"/>
                    </a:lnTo>
                    <a:close/>
                    <a:moveTo>
                      <a:pt x="342995" y="921654"/>
                    </a:moveTo>
                    <a:lnTo>
                      <a:pt x="342995" y="975946"/>
                    </a:lnTo>
                    <a:lnTo>
                      <a:pt x="451295" y="975946"/>
                    </a:lnTo>
                    <a:lnTo>
                      <a:pt x="451295" y="921654"/>
                    </a:lnTo>
                    <a:close/>
                    <a:moveTo>
                      <a:pt x="126370" y="916960"/>
                    </a:moveTo>
                    <a:lnTo>
                      <a:pt x="126370" y="971252"/>
                    </a:lnTo>
                    <a:lnTo>
                      <a:pt x="234670" y="971252"/>
                    </a:lnTo>
                    <a:lnTo>
                      <a:pt x="234670" y="916960"/>
                    </a:lnTo>
                    <a:close/>
                    <a:moveTo>
                      <a:pt x="342995" y="799672"/>
                    </a:moveTo>
                    <a:lnTo>
                      <a:pt x="342995" y="853964"/>
                    </a:lnTo>
                    <a:lnTo>
                      <a:pt x="451295" y="853964"/>
                    </a:lnTo>
                    <a:lnTo>
                      <a:pt x="451295" y="799672"/>
                    </a:lnTo>
                    <a:close/>
                    <a:moveTo>
                      <a:pt x="126370" y="794978"/>
                    </a:moveTo>
                    <a:lnTo>
                      <a:pt x="126370" y="849270"/>
                    </a:lnTo>
                    <a:lnTo>
                      <a:pt x="234670" y="849270"/>
                    </a:lnTo>
                    <a:lnTo>
                      <a:pt x="234670" y="794978"/>
                    </a:lnTo>
                    <a:close/>
                    <a:moveTo>
                      <a:pt x="342995" y="677690"/>
                    </a:moveTo>
                    <a:lnTo>
                      <a:pt x="342995" y="731982"/>
                    </a:lnTo>
                    <a:lnTo>
                      <a:pt x="451295" y="731982"/>
                    </a:lnTo>
                    <a:lnTo>
                      <a:pt x="451295" y="677690"/>
                    </a:lnTo>
                    <a:close/>
                    <a:moveTo>
                      <a:pt x="126370" y="672996"/>
                    </a:moveTo>
                    <a:lnTo>
                      <a:pt x="126370" y="727289"/>
                    </a:lnTo>
                    <a:lnTo>
                      <a:pt x="234670" y="727289"/>
                    </a:lnTo>
                    <a:lnTo>
                      <a:pt x="234670" y="672996"/>
                    </a:lnTo>
                    <a:close/>
                    <a:moveTo>
                      <a:pt x="342995" y="555708"/>
                    </a:moveTo>
                    <a:lnTo>
                      <a:pt x="342995" y="610000"/>
                    </a:lnTo>
                    <a:lnTo>
                      <a:pt x="451295" y="610000"/>
                    </a:lnTo>
                    <a:lnTo>
                      <a:pt x="451295" y="555708"/>
                    </a:lnTo>
                    <a:close/>
                    <a:moveTo>
                      <a:pt x="126370" y="551014"/>
                    </a:moveTo>
                    <a:lnTo>
                      <a:pt x="126370" y="605307"/>
                    </a:lnTo>
                    <a:lnTo>
                      <a:pt x="234670" y="605307"/>
                    </a:lnTo>
                    <a:lnTo>
                      <a:pt x="234670" y="551014"/>
                    </a:lnTo>
                    <a:close/>
                    <a:moveTo>
                      <a:pt x="342995" y="433726"/>
                    </a:moveTo>
                    <a:lnTo>
                      <a:pt x="342995" y="488019"/>
                    </a:lnTo>
                    <a:lnTo>
                      <a:pt x="451295" y="488019"/>
                    </a:lnTo>
                    <a:lnTo>
                      <a:pt x="451295" y="433726"/>
                    </a:lnTo>
                    <a:close/>
                    <a:moveTo>
                      <a:pt x="126370" y="429032"/>
                    </a:moveTo>
                    <a:lnTo>
                      <a:pt x="126370" y="483325"/>
                    </a:lnTo>
                    <a:lnTo>
                      <a:pt x="234670" y="483325"/>
                    </a:lnTo>
                    <a:lnTo>
                      <a:pt x="234670" y="429032"/>
                    </a:lnTo>
                    <a:close/>
                    <a:moveTo>
                      <a:pt x="249290" y="0"/>
                    </a:moveTo>
                    <a:lnTo>
                      <a:pt x="328376" y="0"/>
                    </a:lnTo>
                    <a:lnTo>
                      <a:pt x="328376" y="178763"/>
                    </a:lnTo>
                    <a:lnTo>
                      <a:pt x="397145" y="178763"/>
                    </a:lnTo>
                    <a:lnTo>
                      <a:pt x="397145" y="299617"/>
                    </a:lnTo>
                    <a:lnTo>
                      <a:pt x="577665" y="299617"/>
                    </a:lnTo>
                    <a:lnTo>
                      <a:pt x="577665" y="1976576"/>
                    </a:lnTo>
                    <a:lnTo>
                      <a:pt x="379083" y="1976576"/>
                    </a:lnTo>
                    <a:lnTo>
                      <a:pt x="379083" y="1654427"/>
                    </a:lnTo>
                    <a:lnTo>
                      <a:pt x="198582" y="1654427"/>
                    </a:lnTo>
                    <a:lnTo>
                      <a:pt x="198582" y="1976576"/>
                    </a:lnTo>
                    <a:lnTo>
                      <a:pt x="0" y="1976576"/>
                    </a:lnTo>
                    <a:lnTo>
                      <a:pt x="0" y="299617"/>
                    </a:lnTo>
                    <a:lnTo>
                      <a:pt x="180520" y="299617"/>
                    </a:lnTo>
                    <a:lnTo>
                      <a:pt x="180520" y="178763"/>
                    </a:lnTo>
                    <a:lnTo>
                      <a:pt x="249290" y="178763"/>
                    </a:lnTo>
                    <a:close/>
                  </a:path>
                </a:pathLst>
              </a:cu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ko-KR" altLang="en-US" sz="2000" kern="0" dirty="0" smtClea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61" name="Freeform: Shape 100">
                <a:extLst>
                  <a:ext uri="{FF2B5EF4-FFF2-40B4-BE49-F238E27FC236}">
                    <a16:creationId xmlns="" xmlns:a16="http://schemas.microsoft.com/office/drawing/2014/main" id="{6424A004-6C84-414C-9A2E-E88E63CD4C18}"/>
                  </a:ext>
                </a:extLst>
              </p:cNvPr>
              <p:cNvSpPr/>
              <p:nvPr/>
            </p:nvSpPr>
            <p:spPr>
              <a:xfrm>
                <a:off x="7813002" y="2415640"/>
                <a:ext cx="623978" cy="1339211"/>
              </a:xfrm>
              <a:custGeom>
                <a:avLst/>
                <a:gdLst>
                  <a:gd name="connsiteX0" fmla="*/ 220666 w 637355"/>
                  <a:gd name="connsiteY0" fmla="*/ 807253 h 1339211"/>
                  <a:gd name="connsiteX1" fmla="*/ 220666 w 637355"/>
                  <a:gd name="connsiteY1" fmla="*/ 920972 h 1339211"/>
                  <a:gd name="connsiteX2" fmla="*/ 334385 w 637355"/>
                  <a:gd name="connsiteY2" fmla="*/ 920972 h 1339211"/>
                  <a:gd name="connsiteX3" fmla="*/ 334385 w 637355"/>
                  <a:gd name="connsiteY3" fmla="*/ 807253 h 1339211"/>
                  <a:gd name="connsiteX4" fmla="*/ 79542 w 637355"/>
                  <a:gd name="connsiteY4" fmla="*/ 807253 h 1339211"/>
                  <a:gd name="connsiteX5" fmla="*/ 79542 w 637355"/>
                  <a:gd name="connsiteY5" fmla="*/ 920972 h 1339211"/>
                  <a:gd name="connsiteX6" fmla="*/ 193261 w 637355"/>
                  <a:gd name="connsiteY6" fmla="*/ 920972 h 1339211"/>
                  <a:gd name="connsiteX7" fmla="*/ 193261 w 637355"/>
                  <a:gd name="connsiteY7" fmla="*/ 807253 h 1339211"/>
                  <a:gd name="connsiteX8" fmla="*/ 220666 w 637355"/>
                  <a:gd name="connsiteY8" fmla="*/ 661702 h 1339211"/>
                  <a:gd name="connsiteX9" fmla="*/ 220666 w 637355"/>
                  <a:gd name="connsiteY9" fmla="*/ 775421 h 1339211"/>
                  <a:gd name="connsiteX10" fmla="*/ 334385 w 637355"/>
                  <a:gd name="connsiteY10" fmla="*/ 775421 h 1339211"/>
                  <a:gd name="connsiteX11" fmla="*/ 334385 w 637355"/>
                  <a:gd name="connsiteY11" fmla="*/ 661702 h 1339211"/>
                  <a:gd name="connsiteX12" fmla="*/ 79542 w 637355"/>
                  <a:gd name="connsiteY12" fmla="*/ 661702 h 1339211"/>
                  <a:gd name="connsiteX13" fmla="*/ 79542 w 637355"/>
                  <a:gd name="connsiteY13" fmla="*/ 775421 h 1339211"/>
                  <a:gd name="connsiteX14" fmla="*/ 193261 w 637355"/>
                  <a:gd name="connsiteY14" fmla="*/ 775421 h 1339211"/>
                  <a:gd name="connsiteX15" fmla="*/ 193261 w 637355"/>
                  <a:gd name="connsiteY15" fmla="*/ 661702 h 1339211"/>
                  <a:gd name="connsiteX16" fmla="*/ 220666 w 637355"/>
                  <a:gd name="connsiteY16" fmla="*/ 519029 h 1339211"/>
                  <a:gd name="connsiteX17" fmla="*/ 220666 w 637355"/>
                  <a:gd name="connsiteY17" fmla="*/ 632748 h 1339211"/>
                  <a:gd name="connsiteX18" fmla="*/ 334385 w 637355"/>
                  <a:gd name="connsiteY18" fmla="*/ 632748 h 1339211"/>
                  <a:gd name="connsiteX19" fmla="*/ 334385 w 637355"/>
                  <a:gd name="connsiteY19" fmla="*/ 519029 h 1339211"/>
                  <a:gd name="connsiteX20" fmla="*/ 79542 w 637355"/>
                  <a:gd name="connsiteY20" fmla="*/ 519029 h 1339211"/>
                  <a:gd name="connsiteX21" fmla="*/ 79542 w 637355"/>
                  <a:gd name="connsiteY21" fmla="*/ 632748 h 1339211"/>
                  <a:gd name="connsiteX22" fmla="*/ 193261 w 637355"/>
                  <a:gd name="connsiteY22" fmla="*/ 632748 h 1339211"/>
                  <a:gd name="connsiteX23" fmla="*/ 193261 w 637355"/>
                  <a:gd name="connsiteY23" fmla="*/ 519029 h 1339211"/>
                  <a:gd name="connsiteX24" fmla="*/ 220666 w 637355"/>
                  <a:gd name="connsiteY24" fmla="*/ 373478 h 1339211"/>
                  <a:gd name="connsiteX25" fmla="*/ 220666 w 637355"/>
                  <a:gd name="connsiteY25" fmla="*/ 487197 h 1339211"/>
                  <a:gd name="connsiteX26" fmla="*/ 334385 w 637355"/>
                  <a:gd name="connsiteY26" fmla="*/ 487197 h 1339211"/>
                  <a:gd name="connsiteX27" fmla="*/ 334385 w 637355"/>
                  <a:gd name="connsiteY27" fmla="*/ 373478 h 1339211"/>
                  <a:gd name="connsiteX28" fmla="*/ 79542 w 637355"/>
                  <a:gd name="connsiteY28" fmla="*/ 373478 h 1339211"/>
                  <a:gd name="connsiteX29" fmla="*/ 79542 w 637355"/>
                  <a:gd name="connsiteY29" fmla="*/ 487197 h 1339211"/>
                  <a:gd name="connsiteX30" fmla="*/ 193261 w 637355"/>
                  <a:gd name="connsiteY30" fmla="*/ 487197 h 1339211"/>
                  <a:gd name="connsiteX31" fmla="*/ 193261 w 637355"/>
                  <a:gd name="connsiteY31" fmla="*/ 373478 h 1339211"/>
                  <a:gd name="connsiteX32" fmla="*/ 220666 w 637355"/>
                  <a:gd name="connsiteY32" fmla="*/ 230805 h 1339211"/>
                  <a:gd name="connsiteX33" fmla="*/ 220666 w 637355"/>
                  <a:gd name="connsiteY33" fmla="*/ 344524 h 1339211"/>
                  <a:gd name="connsiteX34" fmla="*/ 334385 w 637355"/>
                  <a:gd name="connsiteY34" fmla="*/ 344524 h 1339211"/>
                  <a:gd name="connsiteX35" fmla="*/ 334385 w 637355"/>
                  <a:gd name="connsiteY35" fmla="*/ 230805 h 1339211"/>
                  <a:gd name="connsiteX36" fmla="*/ 79542 w 637355"/>
                  <a:gd name="connsiteY36" fmla="*/ 230805 h 1339211"/>
                  <a:gd name="connsiteX37" fmla="*/ 79542 w 637355"/>
                  <a:gd name="connsiteY37" fmla="*/ 344524 h 1339211"/>
                  <a:gd name="connsiteX38" fmla="*/ 193261 w 637355"/>
                  <a:gd name="connsiteY38" fmla="*/ 344524 h 1339211"/>
                  <a:gd name="connsiteX39" fmla="*/ 193261 w 637355"/>
                  <a:gd name="connsiteY39" fmla="*/ 230805 h 1339211"/>
                  <a:gd name="connsiteX40" fmla="*/ 220666 w 637355"/>
                  <a:gd name="connsiteY40" fmla="*/ 85254 h 1339211"/>
                  <a:gd name="connsiteX41" fmla="*/ 220666 w 637355"/>
                  <a:gd name="connsiteY41" fmla="*/ 198973 h 1339211"/>
                  <a:gd name="connsiteX42" fmla="*/ 334385 w 637355"/>
                  <a:gd name="connsiteY42" fmla="*/ 198973 h 1339211"/>
                  <a:gd name="connsiteX43" fmla="*/ 334385 w 637355"/>
                  <a:gd name="connsiteY43" fmla="*/ 85254 h 1339211"/>
                  <a:gd name="connsiteX44" fmla="*/ 79542 w 637355"/>
                  <a:gd name="connsiteY44" fmla="*/ 85254 h 1339211"/>
                  <a:gd name="connsiteX45" fmla="*/ 79542 w 637355"/>
                  <a:gd name="connsiteY45" fmla="*/ 198973 h 1339211"/>
                  <a:gd name="connsiteX46" fmla="*/ 193261 w 637355"/>
                  <a:gd name="connsiteY46" fmla="*/ 198973 h 1339211"/>
                  <a:gd name="connsiteX47" fmla="*/ 193261 w 637355"/>
                  <a:gd name="connsiteY47" fmla="*/ 85254 h 1339211"/>
                  <a:gd name="connsiteX48" fmla="*/ 0 w 637355"/>
                  <a:gd name="connsiteY48" fmla="*/ 0 h 1339211"/>
                  <a:gd name="connsiteX49" fmla="*/ 637355 w 637355"/>
                  <a:gd name="connsiteY49" fmla="*/ 0 h 1339211"/>
                  <a:gd name="connsiteX50" fmla="*/ 637355 w 637355"/>
                  <a:gd name="connsiteY50" fmla="*/ 1339211 h 1339211"/>
                  <a:gd name="connsiteX51" fmla="*/ 0 w 637355"/>
                  <a:gd name="connsiteY51" fmla="*/ 1339211 h 1339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637355" h="1339211">
                    <a:moveTo>
                      <a:pt x="220666" y="807253"/>
                    </a:moveTo>
                    <a:lnTo>
                      <a:pt x="220666" y="920972"/>
                    </a:lnTo>
                    <a:lnTo>
                      <a:pt x="334385" y="920972"/>
                    </a:lnTo>
                    <a:lnTo>
                      <a:pt x="334385" y="807253"/>
                    </a:lnTo>
                    <a:close/>
                    <a:moveTo>
                      <a:pt x="79542" y="807253"/>
                    </a:moveTo>
                    <a:lnTo>
                      <a:pt x="79542" y="920972"/>
                    </a:lnTo>
                    <a:lnTo>
                      <a:pt x="193261" y="920972"/>
                    </a:lnTo>
                    <a:lnTo>
                      <a:pt x="193261" y="807253"/>
                    </a:lnTo>
                    <a:close/>
                    <a:moveTo>
                      <a:pt x="220666" y="661702"/>
                    </a:moveTo>
                    <a:lnTo>
                      <a:pt x="220666" y="775421"/>
                    </a:lnTo>
                    <a:lnTo>
                      <a:pt x="334385" y="775421"/>
                    </a:lnTo>
                    <a:lnTo>
                      <a:pt x="334385" y="661702"/>
                    </a:lnTo>
                    <a:close/>
                    <a:moveTo>
                      <a:pt x="79542" y="661702"/>
                    </a:moveTo>
                    <a:lnTo>
                      <a:pt x="79542" y="775421"/>
                    </a:lnTo>
                    <a:lnTo>
                      <a:pt x="193261" y="775421"/>
                    </a:lnTo>
                    <a:lnTo>
                      <a:pt x="193261" y="661702"/>
                    </a:lnTo>
                    <a:close/>
                    <a:moveTo>
                      <a:pt x="220666" y="519029"/>
                    </a:moveTo>
                    <a:lnTo>
                      <a:pt x="220666" y="632748"/>
                    </a:lnTo>
                    <a:lnTo>
                      <a:pt x="334385" y="632748"/>
                    </a:lnTo>
                    <a:lnTo>
                      <a:pt x="334385" y="519029"/>
                    </a:lnTo>
                    <a:close/>
                    <a:moveTo>
                      <a:pt x="79542" y="519029"/>
                    </a:moveTo>
                    <a:lnTo>
                      <a:pt x="79542" y="632748"/>
                    </a:lnTo>
                    <a:lnTo>
                      <a:pt x="193261" y="632748"/>
                    </a:lnTo>
                    <a:lnTo>
                      <a:pt x="193261" y="519029"/>
                    </a:lnTo>
                    <a:close/>
                    <a:moveTo>
                      <a:pt x="220666" y="373478"/>
                    </a:moveTo>
                    <a:lnTo>
                      <a:pt x="220666" y="487197"/>
                    </a:lnTo>
                    <a:lnTo>
                      <a:pt x="334385" y="487197"/>
                    </a:lnTo>
                    <a:lnTo>
                      <a:pt x="334385" y="373478"/>
                    </a:lnTo>
                    <a:close/>
                    <a:moveTo>
                      <a:pt x="79542" y="373478"/>
                    </a:moveTo>
                    <a:lnTo>
                      <a:pt x="79542" y="487197"/>
                    </a:lnTo>
                    <a:lnTo>
                      <a:pt x="193261" y="487197"/>
                    </a:lnTo>
                    <a:lnTo>
                      <a:pt x="193261" y="373478"/>
                    </a:lnTo>
                    <a:close/>
                    <a:moveTo>
                      <a:pt x="220666" y="230805"/>
                    </a:moveTo>
                    <a:lnTo>
                      <a:pt x="220666" y="344524"/>
                    </a:lnTo>
                    <a:lnTo>
                      <a:pt x="334385" y="344524"/>
                    </a:lnTo>
                    <a:lnTo>
                      <a:pt x="334385" y="230805"/>
                    </a:lnTo>
                    <a:close/>
                    <a:moveTo>
                      <a:pt x="79542" y="230805"/>
                    </a:moveTo>
                    <a:lnTo>
                      <a:pt x="79542" y="344524"/>
                    </a:lnTo>
                    <a:lnTo>
                      <a:pt x="193261" y="344524"/>
                    </a:lnTo>
                    <a:lnTo>
                      <a:pt x="193261" y="230805"/>
                    </a:lnTo>
                    <a:close/>
                    <a:moveTo>
                      <a:pt x="220666" y="85254"/>
                    </a:moveTo>
                    <a:lnTo>
                      <a:pt x="220666" y="198973"/>
                    </a:lnTo>
                    <a:lnTo>
                      <a:pt x="334385" y="198973"/>
                    </a:lnTo>
                    <a:lnTo>
                      <a:pt x="334385" y="85254"/>
                    </a:lnTo>
                    <a:close/>
                    <a:moveTo>
                      <a:pt x="79542" y="85254"/>
                    </a:moveTo>
                    <a:lnTo>
                      <a:pt x="79542" y="198973"/>
                    </a:lnTo>
                    <a:lnTo>
                      <a:pt x="193261" y="198973"/>
                    </a:lnTo>
                    <a:lnTo>
                      <a:pt x="193261" y="85254"/>
                    </a:lnTo>
                    <a:close/>
                    <a:moveTo>
                      <a:pt x="0" y="0"/>
                    </a:moveTo>
                    <a:lnTo>
                      <a:pt x="637355" y="0"/>
                    </a:lnTo>
                    <a:lnTo>
                      <a:pt x="637355" y="1339211"/>
                    </a:lnTo>
                    <a:lnTo>
                      <a:pt x="0" y="1339211"/>
                    </a:lnTo>
                    <a:close/>
                  </a:path>
                </a:pathLst>
              </a:custGeom>
              <a:solidFill>
                <a:srgbClr val="00B05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 kern="0" dirty="0" smtClea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62" name="Freeform: Shape 94">
                <a:extLst>
                  <a:ext uri="{FF2B5EF4-FFF2-40B4-BE49-F238E27FC236}">
                    <a16:creationId xmlns="" xmlns:a16="http://schemas.microsoft.com/office/drawing/2014/main" id="{CDF1B5FC-F41B-4543-A07F-87B63D963741}"/>
                  </a:ext>
                </a:extLst>
              </p:cNvPr>
              <p:cNvSpPr/>
              <p:nvPr/>
            </p:nvSpPr>
            <p:spPr>
              <a:xfrm>
                <a:off x="3788766" y="2278018"/>
                <a:ext cx="452749" cy="1476833"/>
              </a:xfrm>
              <a:custGeom>
                <a:avLst/>
                <a:gdLst>
                  <a:gd name="connsiteX0" fmla="*/ 244930 w 462455"/>
                  <a:gd name="connsiteY0" fmla="*/ 661816 h 1476833"/>
                  <a:gd name="connsiteX1" fmla="*/ 244930 w 462455"/>
                  <a:gd name="connsiteY1" fmla="*/ 775535 h 1476833"/>
                  <a:gd name="connsiteX2" fmla="*/ 358649 w 462455"/>
                  <a:gd name="connsiteY2" fmla="*/ 775535 h 1476833"/>
                  <a:gd name="connsiteX3" fmla="*/ 358649 w 462455"/>
                  <a:gd name="connsiteY3" fmla="*/ 661816 h 1476833"/>
                  <a:gd name="connsiteX4" fmla="*/ 103806 w 462455"/>
                  <a:gd name="connsiteY4" fmla="*/ 661816 h 1476833"/>
                  <a:gd name="connsiteX5" fmla="*/ 103806 w 462455"/>
                  <a:gd name="connsiteY5" fmla="*/ 775535 h 1476833"/>
                  <a:gd name="connsiteX6" fmla="*/ 217525 w 462455"/>
                  <a:gd name="connsiteY6" fmla="*/ 775535 h 1476833"/>
                  <a:gd name="connsiteX7" fmla="*/ 217525 w 462455"/>
                  <a:gd name="connsiteY7" fmla="*/ 661816 h 1476833"/>
                  <a:gd name="connsiteX8" fmla="*/ 244930 w 462455"/>
                  <a:gd name="connsiteY8" fmla="*/ 516265 h 1476833"/>
                  <a:gd name="connsiteX9" fmla="*/ 244930 w 462455"/>
                  <a:gd name="connsiteY9" fmla="*/ 629984 h 1476833"/>
                  <a:gd name="connsiteX10" fmla="*/ 358649 w 462455"/>
                  <a:gd name="connsiteY10" fmla="*/ 629984 h 1476833"/>
                  <a:gd name="connsiteX11" fmla="*/ 358649 w 462455"/>
                  <a:gd name="connsiteY11" fmla="*/ 516265 h 1476833"/>
                  <a:gd name="connsiteX12" fmla="*/ 103806 w 462455"/>
                  <a:gd name="connsiteY12" fmla="*/ 516265 h 1476833"/>
                  <a:gd name="connsiteX13" fmla="*/ 103806 w 462455"/>
                  <a:gd name="connsiteY13" fmla="*/ 629984 h 1476833"/>
                  <a:gd name="connsiteX14" fmla="*/ 217525 w 462455"/>
                  <a:gd name="connsiteY14" fmla="*/ 629984 h 1476833"/>
                  <a:gd name="connsiteX15" fmla="*/ 217525 w 462455"/>
                  <a:gd name="connsiteY15" fmla="*/ 516265 h 1476833"/>
                  <a:gd name="connsiteX16" fmla="*/ 244930 w 462455"/>
                  <a:gd name="connsiteY16" fmla="*/ 368427 h 1476833"/>
                  <a:gd name="connsiteX17" fmla="*/ 244930 w 462455"/>
                  <a:gd name="connsiteY17" fmla="*/ 482146 h 1476833"/>
                  <a:gd name="connsiteX18" fmla="*/ 358649 w 462455"/>
                  <a:gd name="connsiteY18" fmla="*/ 482146 h 1476833"/>
                  <a:gd name="connsiteX19" fmla="*/ 358649 w 462455"/>
                  <a:gd name="connsiteY19" fmla="*/ 368427 h 1476833"/>
                  <a:gd name="connsiteX20" fmla="*/ 103806 w 462455"/>
                  <a:gd name="connsiteY20" fmla="*/ 368427 h 1476833"/>
                  <a:gd name="connsiteX21" fmla="*/ 103806 w 462455"/>
                  <a:gd name="connsiteY21" fmla="*/ 482146 h 1476833"/>
                  <a:gd name="connsiteX22" fmla="*/ 217525 w 462455"/>
                  <a:gd name="connsiteY22" fmla="*/ 482146 h 1476833"/>
                  <a:gd name="connsiteX23" fmla="*/ 217525 w 462455"/>
                  <a:gd name="connsiteY23" fmla="*/ 368427 h 1476833"/>
                  <a:gd name="connsiteX24" fmla="*/ 244930 w 462455"/>
                  <a:gd name="connsiteY24" fmla="*/ 222876 h 1476833"/>
                  <a:gd name="connsiteX25" fmla="*/ 244930 w 462455"/>
                  <a:gd name="connsiteY25" fmla="*/ 336595 h 1476833"/>
                  <a:gd name="connsiteX26" fmla="*/ 358649 w 462455"/>
                  <a:gd name="connsiteY26" fmla="*/ 336595 h 1476833"/>
                  <a:gd name="connsiteX27" fmla="*/ 358649 w 462455"/>
                  <a:gd name="connsiteY27" fmla="*/ 222876 h 1476833"/>
                  <a:gd name="connsiteX28" fmla="*/ 103806 w 462455"/>
                  <a:gd name="connsiteY28" fmla="*/ 222876 h 1476833"/>
                  <a:gd name="connsiteX29" fmla="*/ 103806 w 462455"/>
                  <a:gd name="connsiteY29" fmla="*/ 336595 h 1476833"/>
                  <a:gd name="connsiteX30" fmla="*/ 217525 w 462455"/>
                  <a:gd name="connsiteY30" fmla="*/ 336595 h 1476833"/>
                  <a:gd name="connsiteX31" fmla="*/ 217525 w 462455"/>
                  <a:gd name="connsiteY31" fmla="*/ 222876 h 1476833"/>
                  <a:gd name="connsiteX32" fmla="*/ 0 w 462455"/>
                  <a:gd name="connsiteY32" fmla="*/ 0 h 1476833"/>
                  <a:gd name="connsiteX33" fmla="*/ 162985 w 462455"/>
                  <a:gd name="connsiteY33" fmla="*/ 0 h 1476833"/>
                  <a:gd name="connsiteX34" fmla="*/ 162985 w 462455"/>
                  <a:gd name="connsiteY34" fmla="*/ 137622 h 1476833"/>
                  <a:gd name="connsiteX35" fmla="*/ 462455 w 462455"/>
                  <a:gd name="connsiteY35" fmla="*/ 137622 h 1476833"/>
                  <a:gd name="connsiteX36" fmla="*/ 462455 w 462455"/>
                  <a:gd name="connsiteY36" fmla="*/ 1476833 h 1476833"/>
                  <a:gd name="connsiteX37" fmla="*/ 0 w 462455"/>
                  <a:gd name="connsiteY37" fmla="*/ 1476833 h 1476833"/>
                  <a:gd name="connsiteX38" fmla="*/ 0 w 462455"/>
                  <a:gd name="connsiteY38" fmla="*/ 188757 h 1476833"/>
                  <a:gd name="connsiteX39" fmla="*/ 0 w 462455"/>
                  <a:gd name="connsiteY39" fmla="*/ 137622 h 1476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462455" h="1476833">
                    <a:moveTo>
                      <a:pt x="244930" y="661816"/>
                    </a:moveTo>
                    <a:lnTo>
                      <a:pt x="244930" y="775535"/>
                    </a:lnTo>
                    <a:lnTo>
                      <a:pt x="358649" y="775535"/>
                    </a:lnTo>
                    <a:lnTo>
                      <a:pt x="358649" y="661816"/>
                    </a:lnTo>
                    <a:close/>
                    <a:moveTo>
                      <a:pt x="103806" y="661816"/>
                    </a:moveTo>
                    <a:lnTo>
                      <a:pt x="103806" y="775535"/>
                    </a:lnTo>
                    <a:lnTo>
                      <a:pt x="217525" y="775535"/>
                    </a:lnTo>
                    <a:lnTo>
                      <a:pt x="217525" y="661816"/>
                    </a:lnTo>
                    <a:close/>
                    <a:moveTo>
                      <a:pt x="244930" y="516265"/>
                    </a:moveTo>
                    <a:lnTo>
                      <a:pt x="244930" y="629984"/>
                    </a:lnTo>
                    <a:lnTo>
                      <a:pt x="358649" y="629984"/>
                    </a:lnTo>
                    <a:lnTo>
                      <a:pt x="358649" y="516265"/>
                    </a:lnTo>
                    <a:close/>
                    <a:moveTo>
                      <a:pt x="103806" y="516265"/>
                    </a:moveTo>
                    <a:lnTo>
                      <a:pt x="103806" y="629984"/>
                    </a:lnTo>
                    <a:lnTo>
                      <a:pt x="217525" y="629984"/>
                    </a:lnTo>
                    <a:lnTo>
                      <a:pt x="217525" y="516265"/>
                    </a:lnTo>
                    <a:close/>
                    <a:moveTo>
                      <a:pt x="244930" y="368427"/>
                    </a:moveTo>
                    <a:lnTo>
                      <a:pt x="244930" y="482146"/>
                    </a:lnTo>
                    <a:lnTo>
                      <a:pt x="358649" y="482146"/>
                    </a:lnTo>
                    <a:lnTo>
                      <a:pt x="358649" y="368427"/>
                    </a:lnTo>
                    <a:close/>
                    <a:moveTo>
                      <a:pt x="103806" y="368427"/>
                    </a:moveTo>
                    <a:lnTo>
                      <a:pt x="103806" y="482146"/>
                    </a:lnTo>
                    <a:lnTo>
                      <a:pt x="217525" y="482146"/>
                    </a:lnTo>
                    <a:lnTo>
                      <a:pt x="217525" y="368427"/>
                    </a:lnTo>
                    <a:close/>
                    <a:moveTo>
                      <a:pt x="244930" y="222876"/>
                    </a:moveTo>
                    <a:lnTo>
                      <a:pt x="244930" y="336595"/>
                    </a:lnTo>
                    <a:lnTo>
                      <a:pt x="358649" y="336595"/>
                    </a:lnTo>
                    <a:lnTo>
                      <a:pt x="358649" y="222876"/>
                    </a:lnTo>
                    <a:close/>
                    <a:moveTo>
                      <a:pt x="103806" y="222876"/>
                    </a:moveTo>
                    <a:lnTo>
                      <a:pt x="103806" y="336595"/>
                    </a:lnTo>
                    <a:lnTo>
                      <a:pt x="217525" y="336595"/>
                    </a:lnTo>
                    <a:lnTo>
                      <a:pt x="217525" y="222876"/>
                    </a:lnTo>
                    <a:close/>
                    <a:moveTo>
                      <a:pt x="0" y="0"/>
                    </a:moveTo>
                    <a:lnTo>
                      <a:pt x="162985" y="0"/>
                    </a:lnTo>
                    <a:lnTo>
                      <a:pt x="162985" y="137622"/>
                    </a:lnTo>
                    <a:lnTo>
                      <a:pt x="462455" y="137622"/>
                    </a:lnTo>
                    <a:lnTo>
                      <a:pt x="462455" y="1476833"/>
                    </a:lnTo>
                    <a:lnTo>
                      <a:pt x="0" y="1476833"/>
                    </a:lnTo>
                    <a:lnTo>
                      <a:pt x="0" y="188757"/>
                    </a:lnTo>
                    <a:lnTo>
                      <a:pt x="0" y="137622"/>
                    </a:lnTo>
                    <a:close/>
                  </a:path>
                </a:pathLst>
              </a:custGeom>
              <a:solidFill>
                <a:srgbClr val="FF99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 kern="0" dirty="0" smtClean="0">
                  <a:solidFill>
                    <a:schemeClr val="accent6">
                      <a:lumMod val="75000"/>
                    </a:schemeClr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63" name="Freeform: Shape 113">
                <a:extLst>
                  <a:ext uri="{FF2B5EF4-FFF2-40B4-BE49-F238E27FC236}">
                    <a16:creationId xmlns="" xmlns:a16="http://schemas.microsoft.com/office/drawing/2014/main" id="{A99A2E62-3F97-40F3-814F-9C13CBE9F1D9}"/>
                  </a:ext>
                </a:extLst>
              </p:cNvPr>
              <p:cNvSpPr/>
              <p:nvPr/>
            </p:nvSpPr>
            <p:spPr>
              <a:xfrm>
                <a:off x="6684795" y="2234665"/>
                <a:ext cx="300410" cy="1520186"/>
              </a:xfrm>
              <a:custGeom>
                <a:avLst/>
                <a:gdLst>
                  <a:gd name="connsiteX0" fmla="*/ 99275 w 306850"/>
                  <a:gd name="connsiteY0" fmla="*/ 1096373 h 1339211"/>
                  <a:gd name="connsiteX1" fmla="*/ 99275 w 306850"/>
                  <a:gd name="connsiteY1" fmla="*/ 1150665 h 1339211"/>
                  <a:gd name="connsiteX2" fmla="*/ 207575 w 306850"/>
                  <a:gd name="connsiteY2" fmla="*/ 1150665 h 1339211"/>
                  <a:gd name="connsiteX3" fmla="*/ 207575 w 306850"/>
                  <a:gd name="connsiteY3" fmla="*/ 1096373 h 1339211"/>
                  <a:gd name="connsiteX4" fmla="*/ 99275 w 306850"/>
                  <a:gd name="connsiteY4" fmla="*/ 974391 h 1339211"/>
                  <a:gd name="connsiteX5" fmla="*/ 99275 w 306850"/>
                  <a:gd name="connsiteY5" fmla="*/ 1028684 h 1339211"/>
                  <a:gd name="connsiteX6" fmla="*/ 207575 w 306850"/>
                  <a:gd name="connsiteY6" fmla="*/ 1028684 h 1339211"/>
                  <a:gd name="connsiteX7" fmla="*/ 207575 w 306850"/>
                  <a:gd name="connsiteY7" fmla="*/ 974391 h 1339211"/>
                  <a:gd name="connsiteX8" fmla="*/ 99275 w 306850"/>
                  <a:gd name="connsiteY8" fmla="*/ 852409 h 1339211"/>
                  <a:gd name="connsiteX9" fmla="*/ 99275 w 306850"/>
                  <a:gd name="connsiteY9" fmla="*/ 906702 h 1339211"/>
                  <a:gd name="connsiteX10" fmla="*/ 207575 w 306850"/>
                  <a:gd name="connsiteY10" fmla="*/ 906702 h 1339211"/>
                  <a:gd name="connsiteX11" fmla="*/ 207575 w 306850"/>
                  <a:gd name="connsiteY11" fmla="*/ 852409 h 1339211"/>
                  <a:gd name="connsiteX12" fmla="*/ 99275 w 306850"/>
                  <a:gd name="connsiteY12" fmla="*/ 730427 h 1339211"/>
                  <a:gd name="connsiteX13" fmla="*/ 99275 w 306850"/>
                  <a:gd name="connsiteY13" fmla="*/ 784720 h 1339211"/>
                  <a:gd name="connsiteX14" fmla="*/ 207575 w 306850"/>
                  <a:gd name="connsiteY14" fmla="*/ 784720 h 1339211"/>
                  <a:gd name="connsiteX15" fmla="*/ 207575 w 306850"/>
                  <a:gd name="connsiteY15" fmla="*/ 730427 h 1339211"/>
                  <a:gd name="connsiteX16" fmla="*/ 99275 w 306850"/>
                  <a:gd name="connsiteY16" fmla="*/ 608446 h 1339211"/>
                  <a:gd name="connsiteX17" fmla="*/ 99275 w 306850"/>
                  <a:gd name="connsiteY17" fmla="*/ 662738 h 1339211"/>
                  <a:gd name="connsiteX18" fmla="*/ 207575 w 306850"/>
                  <a:gd name="connsiteY18" fmla="*/ 662738 h 1339211"/>
                  <a:gd name="connsiteX19" fmla="*/ 207575 w 306850"/>
                  <a:gd name="connsiteY19" fmla="*/ 608446 h 1339211"/>
                  <a:gd name="connsiteX20" fmla="*/ 99275 w 306850"/>
                  <a:gd name="connsiteY20" fmla="*/ 486464 h 1339211"/>
                  <a:gd name="connsiteX21" fmla="*/ 99275 w 306850"/>
                  <a:gd name="connsiteY21" fmla="*/ 540756 h 1339211"/>
                  <a:gd name="connsiteX22" fmla="*/ 207575 w 306850"/>
                  <a:gd name="connsiteY22" fmla="*/ 540756 h 1339211"/>
                  <a:gd name="connsiteX23" fmla="*/ 207575 w 306850"/>
                  <a:gd name="connsiteY23" fmla="*/ 486464 h 1339211"/>
                  <a:gd name="connsiteX24" fmla="*/ 99275 w 306850"/>
                  <a:gd name="connsiteY24" fmla="*/ 364482 h 1339211"/>
                  <a:gd name="connsiteX25" fmla="*/ 99275 w 306850"/>
                  <a:gd name="connsiteY25" fmla="*/ 418774 h 1339211"/>
                  <a:gd name="connsiteX26" fmla="*/ 207575 w 306850"/>
                  <a:gd name="connsiteY26" fmla="*/ 418774 h 1339211"/>
                  <a:gd name="connsiteX27" fmla="*/ 207575 w 306850"/>
                  <a:gd name="connsiteY27" fmla="*/ 364482 h 1339211"/>
                  <a:gd name="connsiteX28" fmla="*/ 99275 w 306850"/>
                  <a:gd name="connsiteY28" fmla="*/ 242500 h 1339211"/>
                  <a:gd name="connsiteX29" fmla="*/ 99275 w 306850"/>
                  <a:gd name="connsiteY29" fmla="*/ 296792 h 1339211"/>
                  <a:gd name="connsiteX30" fmla="*/ 207575 w 306850"/>
                  <a:gd name="connsiteY30" fmla="*/ 296792 h 1339211"/>
                  <a:gd name="connsiteX31" fmla="*/ 207575 w 306850"/>
                  <a:gd name="connsiteY31" fmla="*/ 242500 h 1339211"/>
                  <a:gd name="connsiteX32" fmla="*/ 99275 w 306850"/>
                  <a:gd name="connsiteY32" fmla="*/ 120518 h 1339211"/>
                  <a:gd name="connsiteX33" fmla="*/ 99275 w 306850"/>
                  <a:gd name="connsiteY33" fmla="*/ 174811 h 1339211"/>
                  <a:gd name="connsiteX34" fmla="*/ 207575 w 306850"/>
                  <a:gd name="connsiteY34" fmla="*/ 174811 h 1339211"/>
                  <a:gd name="connsiteX35" fmla="*/ 207575 w 306850"/>
                  <a:gd name="connsiteY35" fmla="*/ 120518 h 1339211"/>
                  <a:gd name="connsiteX36" fmla="*/ 0 w 306850"/>
                  <a:gd name="connsiteY36" fmla="*/ 0 h 1339211"/>
                  <a:gd name="connsiteX37" fmla="*/ 306850 w 306850"/>
                  <a:gd name="connsiteY37" fmla="*/ 0 h 1339211"/>
                  <a:gd name="connsiteX38" fmla="*/ 306850 w 306850"/>
                  <a:gd name="connsiteY38" fmla="*/ 1339211 h 1339211"/>
                  <a:gd name="connsiteX39" fmla="*/ 0 w 306850"/>
                  <a:gd name="connsiteY39" fmla="*/ 1339211 h 1339211"/>
                  <a:gd name="connsiteX0" fmla="*/ 99275 w 306850"/>
                  <a:gd name="connsiteY0" fmla="*/ 1277348 h 1520186"/>
                  <a:gd name="connsiteX1" fmla="*/ 99275 w 306850"/>
                  <a:gd name="connsiteY1" fmla="*/ 1331640 h 1520186"/>
                  <a:gd name="connsiteX2" fmla="*/ 207575 w 306850"/>
                  <a:gd name="connsiteY2" fmla="*/ 1331640 h 1520186"/>
                  <a:gd name="connsiteX3" fmla="*/ 207575 w 306850"/>
                  <a:gd name="connsiteY3" fmla="*/ 1277348 h 1520186"/>
                  <a:gd name="connsiteX4" fmla="*/ 99275 w 306850"/>
                  <a:gd name="connsiteY4" fmla="*/ 1277348 h 1520186"/>
                  <a:gd name="connsiteX5" fmla="*/ 99275 w 306850"/>
                  <a:gd name="connsiteY5" fmla="*/ 1155366 h 1520186"/>
                  <a:gd name="connsiteX6" fmla="*/ 99275 w 306850"/>
                  <a:gd name="connsiteY6" fmla="*/ 1209659 h 1520186"/>
                  <a:gd name="connsiteX7" fmla="*/ 207575 w 306850"/>
                  <a:gd name="connsiteY7" fmla="*/ 1209659 h 1520186"/>
                  <a:gd name="connsiteX8" fmla="*/ 207575 w 306850"/>
                  <a:gd name="connsiteY8" fmla="*/ 1155366 h 1520186"/>
                  <a:gd name="connsiteX9" fmla="*/ 99275 w 306850"/>
                  <a:gd name="connsiteY9" fmla="*/ 1155366 h 1520186"/>
                  <a:gd name="connsiteX10" fmla="*/ 99275 w 306850"/>
                  <a:gd name="connsiteY10" fmla="*/ 1033384 h 1520186"/>
                  <a:gd name="connsiteX11" fmla="*/ 99275 w 306850"/>
                  <a:gd name="connsiteY11" fmla="*/ 1087677 h 1520186"/>
                  <a:gd name="connsiteX12" fmla="*/ 207575 w 306850"/>
                  <a:gd name="connsiteY12" fmla="*/ 1087677 h 1520186"/>
                  <a:gd name="connsiteX13" fmla="*/ 207575 w 306850"/>
                  <a:gd name="connsiteY13" fmla="*/ 1033384 h 1520186"/>
                  <a:gd name="connsiteX14" fmla="*/ 99275 w 306850"/>
                  <a:gd name="connsiteY14" fmla="*/ 1033384 h 1520186"/>
                  <a:gd name="connsiteX15" fmla="*/ 99275 w 306850"/>
                  <a:gd name="connsiteY15" fmla="*/ 911402 h 1520186"/>
                  <a:gd name="connsiteX16" fmla="*/ 99275 w 306850"/>
                  <a:gd name="connsiteY16" fmla="*/ 965695 h 1520186"/>
                  <a:gd name="connsiteX17" fmla="*/ 207575 w 306850"/>
                  <a:gd name="connsiteY17" fmla="*/ 965695 h 1520186"/>
                  <a:gd name="connsiteX18" fmla="*/ 207575 w 306850"/>
                  <a:gd name="connsiteY18" fmla="*/ 911402 h 1520186"/>
                  <a:gd name="connsiteX19" fmla="*/ 99275 w 306850"/>
                  <a:gd name="connsiteY19" fmla="*/ 911402 h 1520186"/>
                  <a:gd name="connsiteX20" fmla="*/ 99275 w 306850"/>
                  <a:gd name="connsiteY20" fmla="*/ 789421 h 1520186"/>
                  <a:gd name="connsiteX21" fmla="*/ 99275 w 306850"/>
                  <a:gd name="connsiteY21" fmla="*/ 843713 h 1520186"/>
                  <a:gd name="connsiteX22" fmla="*/ 207575 w 306850"/>
                  <a:gd name="connsiteY22" fmla="*/ 843713 h 1520186"/>
                  <a:gd name="connsiteX23" fmla="*/ 207575 w 306850"/>
                  <a:gd name="connsiteY23" fmla="*/ 789421 h 1520186"/>
                  <a:gd name="connsiteX24" fmla="*/ 99275 w 306850"/>
                  <a:gd name="connsiteY24" fmla="*/ 789421 h 1520186"/>
                  <a:gd name="connsiteX25" fmla="*/ 99275 w 306850"/>
                  <a:gd name="connsiteY25" fmla="*/ 667439 h 1520186"/>
                  <a:gd name="connsiteX26" fmla="*/ 99275 w 306850"/>
                  <a:gd name="connsiteY26" fmla="*/ 721731 h 1520186"/>
                  <a:gd name="connsiteX27" fmla="*/ 207575 w 306850"/>
                  <a:gd name="connsiteY27" fmla="*/ 721731 h 1520186"/>
                  <a:gd name="connsiteX28" fmla="*/ 207575 w 306850"/>
                  <a:gd name="connsiteY28" fmla="*/ 667439 h 1520186"/>
                  <a:gd name="connsiteX29" fmla="*/ 99275 w 306850"/>
                  <a:gd name="connsiteY29" fmla="*/ 667439 h 1520186"/>
                  <a:gd name="connsiteX30" fmla="*/ 99275 w 306850"/>
                  <a:gd name="connsiteY30" fmla="*/ 545457 h 1520186"/>
                  <a:gd name="connsiteX31" fmla="*/ 99275 w 306850"/>
                  <a:gd name="connsiteY31" fmla="*/ 599749 h 1520186"/>
                  <a:gd name="connsiteX32" fmla="*/ 207575 w 306850"/>
                  <a:gd name="connsiteY32" fmla="*/ 599749 h 1520186"/>
                  <a:gd name="connsiteX33" fmla="*/ 207575 w 306850"/>
                  <a:gd name="connsiteY33" fmla="*/ 545457 h 1520186"/>
                  <a:gd name="connsiteX34" fmla="*/ 99275 w 306850"/>
                  <a:gd name="connsiteY34" fmla="*/ 545457 h 1520186"/>
                  <a:gd name="connsiteX35" fmla="*/ 99275 w 306850"/>
                  <a:gd name="connsiteY35" fmla="*/ 423475 h 1520186"/>
                  <a:gd name="connsiteX36" fmla="*/ 99275 w 306850"/>
                  <a:gd name="connsiteY36" fmla="*/ 477767 h 1520186"/>
                  <a:gd name="connsiteX37" fmla="*/ 207575 w 306850"/>
                  <a:gd name="connsiteY37" fmla="*/ 477767 h 1520186"/>
                  <a:gd name="connsiteX38" fmla="*/ 207575 w 306850"/>
                  <a:gd name="connsiteY38" fmla="*/ 423475 h 1520186"/>
                  <a:gd name="connsiteX39" fmla="*/ 99275 w 306850"/>
                  <a:gd name="connsiteY39" fmla="*/ 423475 h 1520186"/>
                  <a:gd name="connsiteX40" fmla="*/ 99275 w 306850"/>
                  <a:gd name="connsiteY40" fmla="*/ 301493 h 1520186"/>
                  <a:gd name="connsiteX41" fmla="*/ 99275 w 306850"/>
                  <a:gd name="connsiteY41" fmla="*/ 355786 h 1520186"/>
                  <a:gd name="connsiteX42" fmla="*/ 207575 w 306850"/>
                  <a:gd name="connsiteY42" fmla="*/ 355786 h 1520186"/>
                  <a:gd name="connsiteX43" fmla="*/ 207575 w 306850"/>
                  <a:gd name="connsiteY43" fmla="*/ 301493 h 1520186"/>
                  <a:gd name="connsiteX44" fmla="*/ 99275 w 306850"/>
                  <a:gd name="connsiteY44" fmla="*/ 301493 h 1520186"/>
                  <a:gd name="connsiteX45" fmla="*/ 0 w 306850"/>
                  <a:gd name="connsiteY45" fmla="*/ 180975 h 1520186"/>
                  <a:gd name="connsiteX46" fmla="*/ 297325 w 306850"/>
                  <a:gd name="connsiteY46" fmla="*/ 0 h 1520186"/>
                  <a:gd name="connsiteX47" fmla="*/ 306850 w 306850"/>
                  <a:gd name="connsiteY47" fmla="*/ 1520186 h 1520186"/>
                  <a:gd name="connsiteX48" fmla="*/ 0 w 306850"/>
                  <a:gd name="connsiteY48" fmla="*/ 1520186 h 1520186"/>
                  <a:gd name="connsiteX49" fmla="*/ 0 w 306850"/>
                  <a:gd name="connsiteY49" fmla="*/ 180975 h 1520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306850" h="1520186">
                    <a:moveTo>
                      <a:pt x="99275" y="1277348"/>
                    </a:moveTo>
                    <a:lnTo>
                      <a:pt x="99275" y="1331640"/>
                    </a:lnTo>
                    <a:lnTo>
                      <a:pt x="207575" y="1331640"/>
                    </a:lnTo>
                    <a:lnTo>
                      <a:pt x="207575" y="1277348"/>
                    </a:lnTo>
                    <a:lnTo>
                      <a:pt x="99275" y="1277348"/>
                    </a:lnTo>
                    <a:close/>
                    <a:moveTo>
                      <a:pt x="99275" y="1155366"/>
                    </a:moveTo>
                    <a:lnTo>
                      <a:pt x="99275" y="1209659"/>
                    </a:lnTo>
                    <a:lnTo>
                      <a:pt x="207575" y="1209659"/>
                    </a:lnTo>
                    <a:lnTo>
                      <a:pt x="207575" y="1155366"/>
                    </a:lnTo>
                    <a:lnTo>
                      <a:pt x="99275" y="1155366"/>
                    </a:lnTo>
                    <a:close/>
                    <a:moveTo>
                      <a:pt x="99275" y="1033384"/>
                    </a:moveTo>
                    <a:lnTo>
                      <a:pt x="99275" y="1087677"/>
                    </a:lnTo>
                    <a:lnTo>
                      <a:pt x="207575" y="1087677"/>
                    </a:lnTo>
                    <a:lnTo>
                      <a:pt x="207575" y="1033384"/>
                    </a:lnTo>
                    <a:lnTo>
                      <a:pt x="99275" y="1033384"/>
                    </a:lnTo>
                    <a:close/>
                    <a:moveTo>
                      <a:pt x="99275" y="911402"/>
                    </a:moveTo>
                    <a:lnTo>
                      <a:pt x="99275" y="965695"/>
                    </a:lnTo>
                    <a:lnTo>
                      <a:pt x="207575" y="965695"/>
                    </a:lnTo>
                    <a:lnTo>
                      <a:pt x="207575" y="911402"/>
                    </a:lnTo>
                    <a:lnTo>
                      <a:pt x="99275" y="911402"/>
                    </a:lnTo>
                    <a:close/>
                    <a:moveTo>
                      <a:pt x="99275" y="789421"/>
                    </a:moveTo>
                    <a:lnTo>
                      <a:pt x="99275" y="843713"/>
                    </a:lnTo>
                    <a:lnTo>
                      <a:pt x="207575" y="843713"/>
                    </a:lnTo>
                    <a:lnTo>
                      <a:pt x="207575" y="789421"/>
                    </a:lnTo>
                    <a:lnTo>
                      <a:pt x="99275" y="789421"/>
                    </a:lnTo>
                    <a:close/>
                    <a:moveTo>
                      <a:pt x="99275" y="667439"/>
                    </a:moveTo>
                    <a:lnTo>
                      <a:pt x="99275" y="721731"/>
                    </a:lnTo>
                    <a:lnTo>
                      <a:pt x="207575" y="721731"/>
                    </a:lnTo>
                    <a:lnTo>
                      <a:pt x="207575" y="667439"/>
                    </a:lnTo>
                    <a:lnTo>
                      <a:pt x="99275" y="667439"/>
                    </a:lnTo>
                    <a:close/>
                    <a:moveTo>
                      <a:pt x="99275" y="545457"/>
                    </a:moveTo>
                    <a:lnTo>
                      <a:pt x="99275" y="599749"/>
                    </a:lnTo>
                    <a:lnTo>
                      <a:pt x="207575" y="599749"/>
                    </a:lnTo>
                    <a:lnTo>
                      <a:pt x="207575" y="545457"/>
                    </a:lnTo>
                    <a:lnTo>
                      <a:pt x="99275" y="545457"/>
                    </a:lnTo>
                    <a:close/>
                    <a:moveTo>
                      <a:pt x="99275" y="423475"/>
                    </a:moveTo>
                    <a:lnTo>
                      <a:pt x="99275" y="477767"/>
                    </a:lnTo>
                    <a:lnTo>
                      <a:pt x="207575" y="477767"/>
                    </a:lnTo>
                    <a:lnTo>
                      <a:pt x="207575" y="423475"/>
                    </a:lnTo>
                    <a:lnTo>
                      <a:pt x="99275" y="423475"/>
                    </a:lnTo>
                    <a:close/>
                    <a:moveTo>
                      <a:pt x="99275" y="301493"/>
                    </a:moveTo>
                    <a:lnTo>
                      <a:pt x="99275" y="355786"/>
                    </a:lnTo>
                    <a:lnTo>
                      <a:pt x="207575" y="355786"/>
                    </a:lnTo>
                    <a:lnTo>
                      <a:pt x="207575" y="301493"/>
                    </a:lnTo>
                    <a:lnTo>
                      <a:pt x="99275" y="301493"/>
                    </a:lnTo>
                    <a:close/>
                    <a:moveTo>
                      <a:pt x="0" y="180975"/>
                    </a:moveTo>
                    <a:lnTo>
                      <a:pt x="297325" y="0"/>
                    </a:lnTo>
                    <a:lnTo>
                      <a:pt x="306850" y="1520186"/>
                    </a:lnTo>
                    <a:lnTo>
                      <a:pt x="0" y="1520186"/>
                    </a:lnTo>
                    <a:lnTo>
                      <a:pt x="0" y="180975"/>
                    </a:lnTo>
                    <a:close/>
                  </a:path>
                </a:pathLst>
              </a:custGeom>
              <a:solidFill>
                <a:srgbClr val="FEB85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ko-KR" altLang="en-US" sz="2000" kern="0" dirty="0" smtClea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64" name="Freeform: Shape 114">
                <a:extLst>
                  <a:ext uri="{FF2B5EF4-FFF2-40B4-BE49-F238E27FC236}">
                    <a16:creationId xmlns="" xmlns:a16="http://schemas.microsoft.com/office/drawing/2014/main" id="{BFA71455-07A1-4F21-87E0-9E14427D07BE}"/>
                  </a:ext>
                </a:extLst>
              </p:cNvPr>
              <p:cNvSpPr/>
              <p:nvPr/>
            </p:nvSpPr>
            <p:spPr>
              <a:xfrm>
                <a:off x="4291147" y="2164683"/>
                <a:ext cx="300411" cy="1590168"/>
              </a:xfrm>
              <a:custGeom>
                <a:avLst/>
                <a:gdLst>
                  <a:gd name="connsiteX0" fmla="*/ 99275 w 306851"/>
                  <a:gd name="connsiteY0" fmla="*/ 971161 h 1218693"/>
                  <a:gd name="connsiteX1" fmla="*/ 99275 w 306851"/>
                  <a:gd name="connsiteY1" fmla="*/ 1025454 h 1218693"/>
                  <a:gd name="connsiteX2" fmla="*/ 207576 w 306851"/>
                  <a:gd name="connsiteY2" fmla="*/ 1025454 h 1218693"/>
                  <a:gd name="connsiteX3" fmla="*/ 207576 w 306851"/>
                  <a:gd name="connsiteY3" fmla="*/ 971161 h 1218693"/>
                  <a:gd name="connsiteX4" fmla="*/ 99275 w 306851"/>
                  <a:gd name="connsiteY4" fmla="*/ 849179 h 1218693"/>
                  <a:gd name="connsiteX5" fmla="*/ 99275 w 306851"/>
                  <a:gd name="connsiteY5" fmla="*/ 903472 h 1218693"/>
                  <a:gd name="connsiteX6" fmla="*/ 207576 w 306851"/>
                  <a:gd name="connsiteY6" fmla="*/ 903472 h 1218693"/>
                  <a:gd name="connsiteX7" fmla="*/ 207576 w 306851"/>
                  <a:gd name="connsiteY7" fmla="*/ 849179 h 1218693"/>
                  <a:gd name="connsiteX8" fmla="*/ 99275 w 306851"/>
                  <a:gd name="connsiteY8" fmla="*/ 727198 h 1218693"/>
                  <a:gd name="connsiteX9" fmla="*/ 99275 w 306851"/>
                  <a:gd name="connsiteY9" fmla="*/ 781490 h 1218693"/>
                  <a:gd name="connsiteX10" fmla="*/ 207576 w 306851"/>
                  <a:gd name="connsiteY10" fmla="*/ 781490 h 1218693"/>
                  <a:gd name="connsiteX11" fmla="*/ 207576 w 306851"/>
                  <a:gd name="connsiteY11" fmla="*/ 727198 h 1218693"/>
                  <a:gd name="connsiteX12" fmla="*/ 99275 w 306851"/>
                  <a:gd name="connsiteY12" fmla="*/ 605216 h 1218693"/>
                  <a:gd name="connsiteX13" fmla="*/ 99275 w 306851"/>
                  <a:gd name="connsiteY13" fmla="*/ 659508 h 1218693"/>
                  <a:gd name="connsiteX14" fmla="*/ 207576 w 306851"/>
                  <a:gd name="connsiteY14" fmla="*/ 659508 h 1218693"/>
                  <a:gd name="connsiteX15" fmla="*/ 207576 w 306851"/>
                  <a:gd name="connsiteY15" fmla="*/ 605216 h 1218693"/>
                  <a:gd name="connsiteX16" fmla="*/ 99275 w 306851"/>
                  <a:gd name="connsiteY16" fmla="*/ 483234 h 1218693"/>
                  <a:gd name="connsiteX17" fmla="*/ 99275 w 306851"/>
                  <a:gd name="connsiteY17" fmla="*/ 537526 h 1218693"/>
                  <a:gd name="connsiteX18" fmla="*/ 207576 w 306851"/>
                  <a:gd name="connsiteY18" fmla="*/ 537526 h 1218693"/>
                  <a:gd name="connsiteX19" fmla="*/ 207576 w 306851"/>
                  <a:gd name="connsiteY19" fmla="*/ 483234 h 1218693"/>
                  <a:gd name="connsiteX20" fmla="*/ 99275 w 306851"/>
                  <a:gd name="connsiteY20" fmla="*/ 361252 h 1218693"/>
                  <a:gd name="connsiteX21" fmla="*/ 99275 w 306851"/>
                  <a:gd name="connsiteY21" fmla="*/ 415544 h 1218693"/>
                  <a:gd name="connsiteX22" fmla="*/ 207576 w 306851"/>
                  <a:gd name="connsiteY22" fmla="*/ 415544 h 1218693"/>
                  <a:gd name="connsiteX23" fmla="*/ 207576 w 306851"/>
                  <a:gd name="connsiteY23" fmla="*/ 361252 h 1218693"/>
                  <a:gd name="connsiteX24" fmla="*/ 99275 w 306851"/>
                  <a:gd name="connsiteY24" fmla="*/ 239270 h 1218693"/>
                  <a:gd name="connsiteX25" fmla="*/ 99275 w 306851"/>
                  <a:gd name="connsiteY25" fmla="*/ 293563 h 1218693"/>
                  <a:gd name="connsiteX26" fmla="*/ 207576 w 306851"/>
                  <a:gd name="connsiteY26" fmla="*/ 293563 h 1218693"/>
                  <a:gd name="connsiteX27" fmla="*/ 207576 w 306851"/>
                  <a:gd name="connsiteY27" fmla="*/ 239270 h 1218693"/>
                  <a:gd name="connsiteX28" fmla="*/ 99275 w 306851"/>
                  <a:gd name="connsiteY28" fmla="*/ 117288 h 1218693"/>
                  <a:gd name="connsiteX29" fmla="*/ 99275 w 306851"/>
                  <a:gd name="connsiteY29" fmla="*/ 171581 h 1218693"/>
                  <a:gd name="connsiteX30" fmla="*/ 207576 w 306851"/>
                  <a:gd name="connsiteY30" fmla="*/ 171581 h 1218693"/>
                  <a:gd name="connsiteX31" fmla="*/ 207576 w 306851"/>
                  <a:gd name="connsiteY31" fmla="*/ 117288 h 1218693"/>
                  <a:gd name="connsiteX32" fmla="*/ 0 w 306851"/>
                  <a:gd name="connsiteY32" fmla="*/ 0 h 1218693"/>
                  <a:gd name="connsiteX33" fmla="*/ 306851 w 306851"/>
                  <a:gd name="connsiteY33" fmla="*/ 0 h 1218693"/>
                  <a:gd name="connsiteX34" fmla="*/ 306851 w 306851"/>
                  <a:gd name="connsiteY34" fmla="*/ 1218693 h 1218693"/>
                  <a:gd name="connsiteX35" fmla="*/ 0 w 306851"/>
                  <a:gd name="connsiteY35" fmla="*/ 1218693 h 1218693"/>
                  <a:gd name="connsiteX0" fmla="*/ 99275 w 306851"/>
                  <a:gd name="connsiteY0" fmla="*/ 1342636 h 1590168"/>
                  <a:gd name="connsiteX1" fmla="*/ 99275 w 306851"/>
                  <a:gd name="connsiteY1" fmla="*/ 1396929 h 1590168"/>
                  <a:gd name="connsiteX2" fmla="*/ 207576 w 306851"/>
                  <a:gd name="connsiteY2" fmla="*/ 1396929 h 1590168"/>
                  <a:gd name="connsiteX3" fmla="*/ 207576 w 306851"/>
                  <a:gd name="connsiteY3" fmla="*/ 1342636 h 1590168"/>
                  <a:gd name="connsiteX4" fmla="*/ 99275 w 306851"/>
                  <a:gd name="connsiteY4" fmla="*/ 1342636 h 1590168"/>
                  <a:gd name="connsiteX5" fmla="*/ 99275 w 306851"/>
                  <a:gd name="connsiteY5" fmla="*/ 1220654 h 1590168"/>
                  <a:gd name="connsiteX6" fmla="*/ 99275 w 306851"/>
                  <a:gd name="connsiteY6" fmla="*/ 1274947 h 1590168"/>
                  <a:gd name="connsiteX7" fmla="*/ 207576 w 306851"/>
                  <a:gd name="connsiteY7" fmla="*/ 1274947 h 1590168"/>
                  <a:gd name="connsiteX8" fmla="*/ 207576 w 306851"/>
                  <a:gd name="connsiteY8" fmla="*/ 1220654 h 1590168"/>
                  <a:gd name="connsiteX9" fmla="*/ 99275 w 306851"/>
                  <a:gd name="connsiteY9" fmla="*/ 1220654 h 1590168"/>
                  <a:gd name="connsiteX10" fmla="*/ 99275 w 306851"/>
                  <a:gd name="connsiteY10" fmla="*/ 1098673 h 1590168"/>
                  <a:gd name="connsiteX11" fmla="*/ 99275 w 306851"/>
                  <a:gd name="connsiteY11" fmla="*/ 1152965 h 1590168"/>
                  <a:gd name="connsiteX12" fmla="*/ 207576 w 306851"/>
                  <a:gd name="connsiteY12" fmla="*/ 1152965 h 1590168"/>
                  <a:gd name="connsiteX13" fmla="*/ 207576 w 306851"/>
                  <a:gd name="connsiteY13" fmla="*/ 1098673 h 1590168"/>
                  <a:gd name="connsiteX14" fmla="*/ 99275 w 306851"/>
                  <a:gd name="connsiteY14" fmla="*/ 1098673 h 1590168"/>
                  <a:gd name="connsiteX15" fmla="*/ 99275 w 306851"/>
                  <a:gd name="connsiteY15" fmla="*/ 976691 h 1590168"/>
                  <a:gd name="connsiteX16" fmla="*/ 99275 w 306851"/>
                  <a:gd name="connsiteY16" fmla="*/ 1030983 h 1590168"/>
                  <a:gd name="connsiteX17" fmla="*/ 207576 w 306851"/>
                  <a:gd name="connsiteY17" fmla="*/ 1030983 h 1590168"/>
                  <a:gd name="connsiteX18" fmla="*/ 207576 w 306851"/>
                  <a:gd name="connsiteY18" fmla="*/ 976691 h 1590168"/>
                  <a:gd name="connsiteX19" fmla="*/ 99275 w 306851"/>
                  <a:gd name="connsiteY19" fmla="*/ 976691 h 1590168"/>
                  <a:gd name="connsiteX20" fmla="*/ 99275 w 306851"/>
                  <a:gd name="connsiteY20" fmla="*/ 854709 h 1590168"/>
                  <a:gd name="connsiteX21" fmla="*/ 99275 w 306851"/>
                  <a:gd name="connsiteY21" fmla="*/ 909001 h 1590168"/>
                  <a:gd name="connsiteX22" fmla="*/ 207576 w 306851"/>
                  <a:gd name="connsiteY22" fmla="*/ 909001 h 1590168"/>
                  <a:gd name="connsiteX23" fmla="*/ 207576 w 306851"/>
                  <a:gd name="connsiteY23" fmla="*/ 854709 h 1590168"/>
                  <a:gd name="connsiteX24" fmla="*/ 99275 w 306851"/>
                  <a:gd name="connsiteY24" fmla="*/ 854709 h 1590168"/>
                  <a:gd name="connsiteX25" fmla="*/ 99275 w 306851"/>
                  <a:gd name="connsiteY25" fmla="*/ 732727 h 1590168"/>
                  <a:gd name="connsiteX26" fmla="*/ 99275 w 306851"/>
                  <a:gd name="connsiteY26" fmla="*/ 787019 h 1590168"/>
                  <a:gd name="connsiteX27" fmla="*/ 207576 w 306851"/>
                  <a:gd name="connsiteY27" fmla="*/ 787019 h 1590168"/>
                  <a:gd name="connsiteX28" fmla="*/ 207576 w 306851"/>
                  <a:gd name="connsiteY28" fmla="*/ 732727 h 1590168"/>
                  <a:gd name="connsiteX29" fmla="*/ 99275 w 306851"/>
                  <a:gd name="connsiteY29" fmla="*/ 732727 h 1590168"/>
                  <a:gd name="connsiteX30" fmla="*/ 99275 w 306851"/>
                  <a:gd name="connsiteY30" fmla="*/ 610745 h 1590168"/>
                  <a:gd name="connsiteX31" fmla="*/ 99275 w 306851"/>
                  <a:gd name="connsiteY31" fmla="*/ 665038 h 1590168"/>
                  <a:gd name="connsiteX32" fmla="*/ 207576 w 306851"/>
                  <a:gd name="connsiteY32" fmla="*/ 665038 h 1590168"/>
                  <a:gd name="connsiteX33" fmla="*/ 207576 w 306851"/>
                  <a:gd name="connsiteY33" fmla="*/ 610745 h 1590168"/>
                  <a:gd name="connsiteX34" fmla="*/ 99275 w 306851"/>
                  <a:gd name="connsiteY34" fmla="*/ 610745 h 1590168"/>
                  <a:gd name="connsiteX35" fmla="*/ 99275 w 306851"/>
                  <a:gd name="connsiteY35" fmla="*/ 488763 h 1590168"/>
                  <a:gd name="connsiteX36" fmla="*/ 99275 w 306851"/>
                  <a:gd name="connsiteY36" fmla="*/ 543056 h 1590168"/>
                  <a:gd name="connsiteX37" fmla="*/ 207576 w 306851"/>
                  <a:gd name="connsiteY37" fmla="*/ 543056 h 1590168"/>
                  <a:gd name="connsiteX38" fmla="*/ 207576 w 306851"/>
                  <a:gd name="connsiteY38" fmla="*/ 488763 h 1590168"/>
                  <a:gd name="connsiteX39" fmla="*/ 99275 w 306851"/>
                  <a:gd name="connsiteY39" fmla="*/ 488763 h 1590168"/>
                  <a:gd name="connsiteX40" fmla="*/ 9525 w 306851"/>
                  <a:gd name="connsiteY40" fmla="*/ 0 h 1590168"/>
                  <a:gd name="connsiteX41" fmla="*/ 306851 w 306851"/>
                  <a:gd name="connsiteY41" fmla="*/ 371475 h 1590168"/>
                  <a:gd name="connsiteX42" fmla="*/ 306851 w 306851"/>
                  <a:gd name="connsiteY42" fmla="*/ 1590168 h 1590168"/>
                  <a:gd name="connsiteX43" fmla="*/ 0 w 306851"/>
                  <a:gd name="connsiteY43" fmla="*/ 1590168 h 1590168"/>
                  <a:gd name="connsiteX44" fmla="*/ 9525 w 306851"/>
                  <a:gd name="connsiteY44" fmla="*/ 0 h 1590168"/>
                  <a:gd name="connsiteX0" fmla="*/ 99275 w 306851"/>
                  <a:gd name="connsiteY0" fmla="*/ 1342636 h 1590168"/>
                  <a:gd name="connsiteX1" fmla="*/ 99275 w 306851"/>
                  <a:gd name="connsiteY1" fmla="*/ 1396929 h 1590168"/>
                  <a:gd name="connsiteX2" fmla="*/ 207576 w 306851"/>
                  <a:gd name="connsiteY2" fmla="*/ 1396929 h 1590168"/>
                  <a:gd name="connsiteX3" fmla="*/ 207576 w 306851"/>
                  <a:gd name="connsiteY3" fmla="*/ 1342636 h 1590168"/>
                  <a:gd name="connsiteX4" fmla="*/ 99275 w 306851"/>
                  <a:gd name="connsiteY4" fmla="*/ 1342636 h 1590168"/>
                  <a:gd name="connsiteX5" fmla="*/ 99275 w 306851"/>
                  <a:gd name="connsiteY5" fmla="*/ 1220654 h 1590168"/>
                  <a:gd name="connsiteX6" fmla="*/ 99275 w 306851"/>
                  <a:gd name="connsiteY6" fmla="*/ 1274947 h 1590168"/>
                  <a:gd name="connsiteX7" fmla="*/ 207576 w 306851"/>
                  <a:gd name="connsiteY7" fmla="*/ 1274947 h 1590168"/>
                  <a:gd name="connsiteX8" fmla="*/ 207576 w 306851"/>
                  <a:gd name="connsiteY8" fmla="*/ 1220654 h 1590168"/>
                  <a:gd name="connsiteX9" fmla="*/ 99275 w 306851"/>
                  <a:gd name="connsiteY9" fmla="*/ 1220654 h 1590168"/>
                  <a:gd name="connsiteX10" fmla="*/ 99275 w 306851"/>
                  <a:gd name="connsiteY10" fmla="*/ 1098673 h 1590168"/>
                  <a:gd name="connsiteX11" fmla="*/ 99275 w 306851"/>
                  <a:gd name="connsiteY11" fmla="*/ 1152965 h 1590168"/>
                  <a:gd name="connsiteX12" fmla="*/ 207576 w 306851"/>
                  <a:gd name="connsiteY12" fmla="*/ 1152965 h 1590168"/>
                  <a:gd name="connsiteX13" fmla="*/ 207576 w 306851"/>
                  <a:gd name="connsiteY13" fmla="*/ 1098673 h 1590168"/>
                  <a:gd name="connsiteX14" fmla="*/ 99275 w 306851"/>
                  <a:gd name="connsiteY14" fmla="*/ 1098673 h 1590168"/>
                  <a:gd name="connsiteX15" fmla="*/ 99275 w 306851"/>
                  <a:gd name="connsiteY15" fmla="*/ 976691 h 1590168"/>
                  <a:gd name="connsiteX16" fmla="*/ 99275 w 306851"/>
                  <a:gd name="connsiteY16" fmla="*/ 1030983 h 1590168"/>
                  <a:gd name="connsiteX17" fmla="*/ 207576 w 306851"/>
                  <a:gd name="connsiteY17" fmla="*/ 1030983 h 1590168"/>
                  <a:gd name="connsiteX18" fmla="*/ 207576 w 306851"/>
                  <a:gd name="connsiteY18" fmla="*/ 976691 h 1590168"/>
                  <a:gd name="connsiteX19" fmla="*/ 99275 w 306851"/>
                  <a:gd name="connsiteY19" fmla="*/ 976691 h 1590168"/>
                  <a:gd name="connsiteX20" fmla="*/ 99275 w 306851"/>
                  <a:gd name="connsiteY20" fmla="*/ 854709 h 1590168"/>
                  <a:gd name="connsiteX21" fmla="*/ 99275 w 306851"/>
                  <a:gd name="connsiteY21" fmla="*/ 909001 h 1590168"/>
                  <a:gd name="connsiteX22" fmla="*/ 207576 w 306851"/>
                  <a:gd name="connsiteY22" fmla="*/ 909001 h 1590168"/>
                  <a:gd name="connsiteX23" fmla="*/ 207576 w 306851"/>
                  <a:gd name="connsiteY23" fmla="*/ 854709 h 1590168"/>
                  <a:gd name="connsiteX24" fmla="*/ 99275 w 306851"/>
                  <a:gd name="connsiteY24" fmla="*/ 854709 h 1590168"/>
                  <a:gd name="connsiteX25" fmla="*/ 99275 w 306851"/>
                  <a:gd name="connsiteY25" fmla="*/ 732727 h 1590168"/>
                  <a:gd name="connsiteX26" fmla="*/ 99275 w 306851"/>
                  <a:gd name="connsiteY26" fmla="*/ 787019 h 1590168"/>
                  <a:gd name="connsiteX27" fmla="*/ 207576 w 306851"/>
                  <a:gd name="connsiteY27" fmla="*/ 787019 h 1590168"/>
                  <a:gd name="connsiteX28" fmla="*/ 207576 w 306851"/>
                  <a:gd name="connsiteY28" fmla="*/ 732727 h 1590168"/>
                  <a:gd name="connsiteX29" fmla="*/ 99275 w 306851"/>
                  <a:gd name="connsiteY29" fmla="*/ 732727 h 1590168"/>
                  <a:gd name="connsiteX30" fmla="*/ 99275 w 306851"/>
                  <a:gd name="connsiteY30" fmla="*/ 610745 h 1590168"/>
                  <a:gd name="connsiteX31" fmla="*/ 99275 w 306851"/>
                  <a:gd name="connsiteY31" fmla="*/ 665038 h 1590168"/>
                  <a:gd name="connsiteX32" fmla="*/ 207576 w 306851"/>
                  <a:gd name="connsiteY32" fmla="*/ 665038 h 1590168"/>
                  <a:gd name="connsiteX33" fmla="*/ 207576 w 306851"/>
                  <a:gd name="connsiteY33" fmla="*/ 610745 h 1590168"/>
                  <a:gd name="connsiteX34" fmla="*/ 99275 w 306851"/>
                  <a:gd name="connsiteY34" fmla="*/ 610745 h 1590168"/>
                  <a:gd name="connsiteX35" fmla="*/ 99275 w 306851"/>
                  <a:gd name="connsiteY35" fmla="*/ 488763 h 1590168"/>
                  <a:gd name="connsiteX36" fmla="*/ 99275 w 306851"/>
                  <a:gd name="connsiteY36" fmla="*/ 543056 h 1590168"/>
                  <a:gd name="connsiteX37" fmla="*/ 207576 w 306851"/>
                  <a:gd name="connsiteY37" fmla="*/ 543056 h 1590168"/>
                  <a:gd name="connsiteX38" fmla="*/ 207576 w 306851"/>
                  <a:gd name="connsiteY38" fmla="*/ 488763 h 1590168"/>
                  <a:gd name="connsiteX39" fmla="*/ 99275 w 306851"/>
                  <a:gd name="connsiteY39" fmla="*/ 488763 h 1590168"/>
                  <a:gd name="connsiteX40" fmla="*/ 0 w 306851"/>
                  <a:gd name="connsiteY40" fmla="*/ 0 h 1590168"/>
                  <a:gd name="connsiteX41" fmla="*/ 306851 w 306851"/>
                  <a:gd name="connsiteY41" fmla="*/ 371475 h 1590168"/>
                  <a:gd name="connsiteX42" fmla="*/ 306851 w 306851"/>
                  <a:gd name="connsiteY42" fmla="*/ 1590168 h 1590168"/>
                  <a:gd name="connsiteX43" fmla="*/ 0 w 306851"/>
                  <a:gd name="connsiteY43" fmla="*/ 1590168 h 1590168"/>
                  <a:gd name="connsiteX44" fmla="*/ 0 w 306851"/>
                  <a:gd name="connsiteY44" fmla="*/ 0 h 1590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306851" h="1590168">
                    <a:moveTo>
                      <a:pt x="99275" y="1342636"/>
                    </a:moveTo>
                    <a:lnTo>
                      <a:pt x="99275" y="1396929"/>
                    </a:lnTo>
                    <a:lnTo>
                      <a:pt x="207576" y="1396929"/>
                    </a:lnTo>
                    <a:lnTo>
                      <a:pt x="207576" y="1342636"/>
                    </a:lnTo>
                    <a:lnTo>
                      <a:pt x="99275" y="1342636"/>
                    </a:lnTo>
                    <a:close/>
                    <a:moveTo>
                      <a:pt x="99275" y="1220654"/>
                    </a:moveTo>
                    <a:lnTo>
                      <a:pt x="99275" y="1274947"/>
                    </a:lnTo>
                    <a:lnTo>
                      <a:pt x="207576" y="1274947"/>
                    </a:lnTo>
                    <a:lnTo>
                      <a:pt x="207576" y="1220654"/>
                    </a:lnTo>
                    <a:lnTo>
                      <a:pt x="99275" y="1220654"/>
                    </a:lnTo>
                    <a:close/>
                    <a:moveTo>
                      <a:pt x="99275" y="1098673"/>
                    </a:moveTo>
                    <a:lnTo>
                      <a:pt x="99275" y="1152965"/>
                    </a:lnTo>
                    <a:lnTo>
                      <a:pt x="207576" y="1152965"/>
                    </a:lnTo>
                    <a:lnTo>
                      <a:pt x="207576" y="1098673"/>
                    </a:lnTo>
                    <a:lnTo>
                      <a:pt x="99275" y="1098673"/>
                    </a:lnTo>
                    <a:close/>
                    <a:moveTo>
                      <a:pt x="99275" y="976691"/>
                    </a:moveTo>
                    <a:lnTo>
                      <a:pt x="99275" y="1030983"/>
                    </a:lnTo>
                    <a:lnTo>
                      <a:pt x="207576" y="1030983"/>
                    </a:lnTo>
                    <a:lnTo>
                      <a:pt x="207576" y="976691"/>
                    </a:lnTo>
                    <a:lnTo>
                      <a:pt x="99275" y="976691"/>
                    </a:lnTo>
                    <a:close/>
                    <a:moveTo>
                      <a:pt x="99275" y="854709"/>
                    </a:moveTo>
                    <a:lnTo>
                      <a:pt x="99275" y="909001"/>
                    </a:lnTo>
                    <a:lnTo>
                      <a:pt x="207576" y="909001"/>
                    </a:lnTo>
                    <a:lnTo>
                      <a:pt x="207576" y="854709"/>
                    </a:lnTo>
                    <a:lnTo>
                      <a:pt x="99275" y="854709"/>
                    </a:lnTo>
                    <a:close/>
                    <a:moveTo>
                      <a:pt x="99275" y="732727"/>
                    </a:moveTo>
                    <a:lnTo>
                      <a:pt x="99275" y="787019"/>
                    </a:lnTo>
                    <a:lnTo>
                      <a:pt x="207576" y="787019"/>
                    </a:lnTo>
                    <a:lnTo>
                      <a:pt x="207576" y="732727"/>
                    </a:lnTo>
                    <a:lnTo>
                      <a:pt x="99275" y="732727"/>
                    </a:lnTo>
                    <a:close/>
                    <a:moveTo>
                      <a:pt x="99275" y="610745"/>
                    </a:moveTo>
                    <a:lnTo>
                      <a:pt x="99275" y="665038"/>
                    </a:lnTo>
                    <a:lnTo>
                      <a:pt x="207576" y="665038"/>
                    </a:lnTo>
                    <a:lnTo>
                      <a:pt x="207576" y="610745"/>
                    </a:lnTo>
                    <a:lnTo>
                      <a:pt x="99275" y="610745"/>
                    </a:lnTo>
                    <a:close/>
                    <a:moveTo>
                      <a:pt x="99275" y="488763"/>
                    </a:moveTo>
                    <a:lnTo>
                      <a:pt x="99275" y="543056"/>
                    </a:lnTo>
                    <a:lnTo>
                      <a:pt x="207576" y="543056"/>
                    </a:lnTo>
                    <a:lnTo>
                      <a:pt x="207576" y="488763"/>
                    </a:lnTo>
                    <a:lnTo>
                      <a:pt x="99275" y="488763"/>
                    </a:lnTo>
                    <a:close/>
                    <a:moveTo>
                      <a:pt x="0" y="0"/>
                    </a:moveTo>
                    <a:lnTo>
                      <a:pt x="306851" y="371475"/>
                    </a:lnTo>
                    <a:lnTo>
                      <a:pt x="306851" y="1590168"/>
                    </a:lnTo>
                    <a:lnTo>
                      <a:pt x="0" y="159016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FEDF0">
                  <a:lumMod val="5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ko-KR" altLang="en-US" sz="2000" kern="0" dirty="0" smtClea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65" name="Freeform: Shape 174">
                <a:extLst>
                  <a:ext uri="{FF2B5EF4-FFF2-40B4-BE49-F238E27FC236}">
                    <a16:creationId xmlns="" xmlns:a16="http://schemas.microsoft.com/office/drawing/2014/main" id="{65016AA4-C50E-4E94-A238-8C09CD3C3B26}"/>
                  </a:ext>
                </a:extLst>
              </p:cNvPr>
              <p:cNvSpPr/>
              <p:nvPr/>
            </p:nvSpPr>
            <p:spPr>
              <a:xfrm>
                <a:off x="8486617" y="2597309"/>
                <a:ext cx="248377" cy="1157542"/>
              </a:xfrm>
              <a:custGeom>
                <a:avLst/>
                <a:gdLst>
                  <a:gd name="connsiteX0" fmla="*/ 99275 w 306851"/>
                  <a:gd name="connsiteY0" fmla="*/ 971161 h 1218693"/>
                  <a:gd name="connsiteX1" fmla="*/ 99275 w 306851"/>
                  <a:gd name="connsiteY1" fmla="*/ 1025454 h 1218693"/>
                  <a:gd name="connsiteX2" fmla="*/ 207576 w 306851"/>
                  <a:gd name="connsiteY2" fmla="*/ 1025454 h 1218693"/>
                  <a:gd name="connsiteX3" fmla="*/ 207576 w 306851"/>
                  <a:gd name="connsiteY3" fmla="*/ 971161 h 1218693"/>
                  <a:gd name="connsiteX4" fmla="*/ 99275 w 306851"/>
                  <a:gd name="connsiteY4" fmla="*/ 849179 h 1218693"/>
                  <a:gd name="connsiteX5" fmla="*/ 99275 w 306851"/>
                  <a:gd name="connsiteY5" fmla="*/ 903472 h 1218693"/>
                  <a:gd name="connsiteX6" fmla="*/ 207576 w 306851"/>
                  <a:gd name="connsiteY6" fmla="*/ 903472 h 1218693"/>
                  <a:gd name="connsiteX7" fmla="*/ 207576 w 306851"/>
                  <a:gd name="connsiteY7" fmla="*/ 849179 h 1218693"/>
                  <a:gd name="connsiteX8" fmla="*/ 99275 w 306851"/>
                  <a:gd name="connsiteY8" fmla="*/ 727198 h 1218693"/>
                  <a:gd name="connsiteX9" fmla="*/ 99275 w 306851"/>
                  <a:gd name="connsiteY9" fmla="*/ 781490 h 1218693"/>
                  <a:gd name="connsiteX10" fmla="*/ 207576 w 306851"/>
                  <a:gd name="connsiteY10" fmla="*/ 781490 h 1218693"/>
                  <a:gd name="connsiteX11" fmla="*/ 207576 w 306851"/>
                  <a:gd name="connsiteY11" fmla="*/ 727198 h 1218693"/>
                  <a:gd name="connsiteX12" fmla="*/ 99275 w 306851"/>
                  <a:gd name="connsiteY12" fmla="*/ 605216 h 1218693"/>
                  <a:gd name="connsiteX13" fmla="*/ 99275 w 306851"/>
                  <a:gd name="connsiteY13" fmla="*/ 659508 h 1218693"/>
                  <a:gd name="connsiteX14" fmla="*/ 207576 w 306851"/>
                  <a:gd name="connsiteY14" fmla="*/ 659508 h 1218693"/>
                  <a:gd name="connsiteX15" fmla="*/ 207576 w 306851"/>
                  <a:gd name="connsiteY15" fmla="*/ 605216 h 1218693"/>
                  <a:gd name="connsiteX16" fmla="*/ 99275 w 306851"/>
                  <a:gd name="connsiteY16" fmla="*/ 483234 h 1218693"/>
                  <a:gd name="connsiteX17" fmla="*/ 99275 w 306851"/>
                  <a:gd name="connsiteY17" fmla="*/ 537526 h 1218693"/>
                  <a:gd name="connsiteX18" fmla="*/ 207576 w 306851"/>
                  <a:gd name="connsiteY18" fmla="*/ 537526 h 1218693"/>
                  <a:gd name="connsiteX19" fmla="*/ 207576 w 306851"/>
                  <a:gd name="connsiteY19" fmla="*/ 483234 h 1218693"/>
                  <a:gd name="connsiteX20" fmla="*/ 99275 w 306851"/>
                  <a:gd name="connsiteY20" fmla="*/ 361252 h 1218693"/>
                  <a:gd name="connsiteX21" fmla="*/ 99275 w 306851"/>
                  <a:gd name="connsiteY21" fmla="*/ 415544 h 1218693"/>
                  <a:gd name="connsiteX22" fmla="*/ 207576 w 306851"/>
                  <a:gd name="connsiteY22" fmla="*/ 415544 h 1218693"/>
                  <a:gd name="connsiteX23" fmla="*/ 207576 w 306851"/>
                  <a:gd name="connsiteY23" fmla="*/ 361252 h 1218693"/>
                  <a:gd name="connsiteX24" fmla="*/ 99275 w 306851"/>
                  <a:gd name="connsiteY24" fmla="*/ 239270 h 1218693"/>
                  <a:gd name="connsiteX25" fmla="*/ 99275 w 306851"/>
                  <a:gd name="connsiteY25" fmla="*/ 293563 h 1218693"/>
                  <a:gd name="connsiteX26" fmla="*/ 207576 w 306851"/>
                  <a:gd name="connsiteY26" fmla="*/ 293563 h 1218693"/>
                  <a:gd name="connsiteX27" fmla="*/ 207576 w 306851"/>
                  <a:gd name="connsiteY27" fmla="*/ 239270 h 1218693"/>
                  <a:gd name="connsiteX28" fmla="*/ 99275 w 306851"/>
                  <a:gd name="connsiteY28" fmla="*/ 117288 h 1218693"/>
                  <a:gd name="connsiteX29" fmla="*/ 99275 w 306851"/>
                  <a:gd name="connsiteY29" fmla="*/ 171581 h 1218693"/>
                  <a:gd name="connsiteX30" fmla="*/ 207576 w 306851"/>
                  <a:gd name="connsiteY30" fmla="*/ 171581 h 1218693"/>
                  <a:gd name="connsiteX31" fmla="*/ 207576 w 306851"/>
                  <a:gd name="connsiteY31" fmla="*/ 117288 h 1218693"/>
                  <a:gd name="connsiteX32" fmla="*/ 0 w 306851"/>
                  <a:gd name="connsiteY32" fmla="*/ 0 h 1218693"/>
                  <a:gd name="connsiteX33" fmla="*/ 306851 w 306851"/>
                  <a:gd name="connsiteY33" fmla="*/ 0 h 1218693"/>
                  <a:gd name="connsiteX34" fmla="*/ 306851 w 306851"/>
                  <a:gd name="connsiteY34" fmla="*/ 1218693 h 1218693"/>
                  <a:gd name="connsiteX35" fmla="*/ 0 w 306851"/>
                  <a:gd name="connsiteY35" fmla="*/ 1218693 h 1218693"/>
                  <a:gd name="connsiteX0" fmla="*/ 99275 w 306851"/>
                  <a:gd name="connsiteY0" fmla="*/ 1342636 h 1590168"/>
                  <a:gd name="connsiteX1" fmla="*/ 99275 w 306851"/>
                  <a:gd name="connsiteY1" fmla="*/ 1396929 h 1590168"/>
                  <a:gd name="connsiteX2" fmla="*/ 207576 w 306851"/>
                  <a:gd name="connsiteY2" fmla="*/ 1396929 h 1590168"/>
                  <a:gd name="connsiteX3" fmla="*/ 207576 w 306851"/>
                  <a:gd name="connsiteY3" fmla="*/ 1342636 h 1590168"/>
                  <a:gd name="connsiteX4" fmla="*/ 99275 w 306851"/>
                  <a:gd name="connsiteY4" fmla="*/ 1342636 h 1590168"/>
                  <a:gd name="connsiteX5" fmla="*/ 99275 w 306851"/>
                  <a:gd name="connsiteY5" fmla="*/ 1220654 h 1590168"/>
                  <a:gd name="connsiteX6" fmla="*/ 99275 w 306851"/>
                  <a:gd name="connsiteY6" fmla="*/ 1274947 h 1590168"/>
                  <a:gd name="connsiteX7" fmla="*/ 207576 w 306851"/>
                  <a:gd name="connsiteY7" fmla="*/ 1274947 h 1590168"/>
                  <a:gd name="connsiteX8" fmla="*/ 207576 w 306851"/>
                  <a:gd name="connsiteY8" fmla="*/ 1220654 h 1590168"/>
                  <a:gd name="connsiteX9" fmla="*/ 99275 w 306851"/>
                  <a:gd name="connsiteY9" fmla="*/ 1220654 h 1590168"/>
                  <a:gd name="connsiteX10" fmla="*/ 99275 w 306851"/>
                  <a:gd name="connsiteY10" fmla="*/ 1098673 h 1590168"/>
                  <a:gd name="connsiteX11" fmla="*/ 99275 w 306851"/>
                  <a:gd name="connsiteY11" fmla="*/ 1152965 h 1590168"/>
                  <a:gd name="connsiteX12" fmla="*/ 207576 w 306851"/>
                  <a:gd name="connsiteY12" fmla="*/ 1152965 h 1590168"/>
                  <a:gd name="connsiteX13" fmla="*/ 207576 w 306851"/>
                  <a:gd name="connsiteY13" fmla="*/ 1098673 h 1590168"/>
                  <a:gd name="connsiteX14" fmla="*/ 99275 w 306851"/>
                  <a:gd name="connsiteY14" fmla="*/ 1098673 h 1590168"/>
                  <a:gd name="connsiteX15" fmla="*/ 99275 w 306851"/>
                  <a:gd name="connsiteY15" fmla="*/ 976691 h 1590168"/>
                  <a:gd name="connsiteX16" fmla="*/ 99275 w 306851"/>
                  <a:gd name="connsiteY16" fmla="*/ 1030983 h 1590168"/>
                  <a:gd name="connsiteX17" fmla="*/ 207576 w 306851"/>
                  <a:gd name="connsiteY17" fmla="*/ 1030983 h 1590168"/>
                  <a:gd name="connsiteX18" fmla="*/ 207576 w 306851"/>
                  <a:gd name="connsiteY18" fmla="*/ 976691 h 1590168"/>
                  <a:gd name="connsiteX19" fmla="*/ 99275 w 306851"/>
                  <a:gd name="connsiteY19" fmla="*/ 976691 h 1590168"/>
                  <a:gd name="connsiteX20" fmla="*/ 99275 w 306851"/>
                  <a:gd name="connsiteY20" fmla="*/ 854709 h 1590168"/>
                  <a:gd name="connsiteX21" fmla="*/ 99275 w 306851"/>
                  <a:gd name="connsiteY21" fmla="*/ 909001 h 1590168"/>
                  <a:gd name="connsiteX22" fmla="*/ 207576 w 306851"/>
                  <a:gd name="connsiteY22" fmla="*/ 909001 h 1590168"/>
                  <a:gd name="connsiteX23" fmla="*/ 207576 w 306851"/>
                  <a:gd name="connsiteY23" fmla="*/ 854709 h 1590168"/>
                  <a:gd name="connsiteX24" fmla="*/ 99275 w 306851"/>
                  <a:gd name="connsiteY24" fmla="*/ 854709 h 1590168"/>
                  <a:gd name="connsiteX25" fmla="*/ 99275 w 306851"/>
                  <a:gd name="connsiteY25" fmla="*/ 732727 h 1590168"/>
                  <a:gd name="connsiteX26" fmla="*/ 99275 w 306851"/>
                  <a:gd name="connsiteY26" fmla="*/ 787019 h 1590168"/>
                  <a:gd name="connsiteX27" fmla="*/ 207576 w 306851"/>
                  <a:gd name="connsiteY27" fmla="*/ 787019 h 1590168"/>
                  <a:gd name="connsiteX28" fmla="*/ 207576 w 306851"/>
                  <a:gd name="connsiteY28" fmla="*/ 732727 h 1590168"/>
                  <a:gd name="connsiteX29" fmla="*/ 99275 w 306851"/>
                  <a:gd name="connsiteY29" fmla="*/ 732727 h 1590168"/>
                  <a:gd name="connsiteX30" fmla="*/ 99275 w 306851"/>
                  <a:gd name="connsiteY30" fmla="*/ 610745 h 1590168"/>
                  <a:gd name="connsiteX31" fmla="*/ 99275 w 306851"/>
                  <a:gd name="connsiteY31" fmla="*/ 665038 h 1590168"/>
                  <a:gd name="connsiteX32" fmla="*/ 207576 w 306851"/>
                  <a:gd name="connsiteY32" fmla="*/ 665038 h 1590168"/>
                  <a:gd name="connsiteX33" fmla="*/ 207576 w 306851"/>
                  <a:gd name="connsiteY33" fmla="*/ 610745 h 1590168"/>
                  <a:gd name="connsiteX34" fmla="*/ 99275 w 306851"/>
                  <a:gd name="connsiteY34" fmla="*/ 610745 h 1590168"/>
                  <a:gd name="connsiteX35" fmla="*/ 99275 w 306851"/>
                  <a:gd name="connsiteY35" fmla="*/ 488763 h 1590168"/>
                  <a:gd name="connsiteX36" fmla="*/ 99275 w 306851"/>
                  <a:gd name="connsiteY36" fmla="*/ 543056 h 1590168"/>
                  <a:gd name="connsiteX37" fmla="*/ 207576 w 306851"/>
                  <a:gd name="connsiteY37" fmla="*/ 543056 h 1590168"/>
                  <a:gd name="connsiteX38" fmla="*/ 207576 w 306851"/>
                  <a:gd name="connsiteY38" fmla="*/ 488763 h 1590168"/>
                  <a:gd name="connsiteX39" fmla="*/ 99275 w 306851"/>
                  <a:gd name="connsiteY39" fmla="*/ 488763 h 1590168"/>
                  <a:gd name="connsiteX40" fmla="*/ 9525 w 306851"/>
                  <a:gd name="connsiteY40" fmla="*/ 0 h 1590168"/>
                  <a:gd name="connsiteX41" fmla="*/ 306851 w 306851"/>
                  <a:gd name="connsiteY41" fmla="*/ 371475 h 1590168"/>
                  <a:gd name="connsiteX42" fmla="*/ 306851 w 306851"/>
                  <a:gd name="connsiteY42" fmla="*/ 1590168 h 1590168"/>
                  <a:gd name="connsiteX43" fmla="*/ 0 w 306851"/>
                  <a:gd name="connsiteY43" fmla="*/ 1590168 h 1590168"/>
                  <a:gd name="connsiteX44" fmla="*/ 9525 w 306851"/>
                  <a:gd name="connsiteY44" fmla="*/ 0 h 1590168"/>
                  <a:gd name="connsiteX0" fmla="*/ 99275 w 306851"/>
                  <a:gd name="connsiteY0" fmla="*/ 1342636 h 1590168"/>
                  <a:gd name="connsiteX1" fmla="*/ 99275 w 306851"/>
                  <a:gd name="connsiteY1" fmla="*/ 1396929 h 1590168"/>
                  <a:gd name="connsiteX2" fmla="*/ 207576 w 306851"/>
                  <a:gd name="connsiteY2" fmla="*/ 1396929 h 1590168"/>
                  <a:gd name="connsiteX3" fmla="*/ 207576 w 306851"/>
                  <a:gd name="connsiteY3" fmla="*/ 1342636 h 1590168"/>
                  <a:gd name="connsiteX4" fmla="*/ 99275 w 306851"/>
                  <a:gd name="connsiteY4" fmla="*/ 1342636 h 1590168"/>
                  <a:gd name="connsiteX5" fmla="*/ 99275 w 306851"/>
                  <a:gd name="connsiteY5" fmla="*/ 1220654 h 1590168"/>
                  <a:gd name="connsiteX6" fmla="*/ 99275 w 306851"/>
                  <a:gd name="connsiteY6" fmla="*/ 1274947 h 1590168"/>
                  <a:gd name="connsiteX7" fmla="*/ 207576 w 306851"/>
                  <a:gd name="connsiteY7" fmla="*/ 1274947 h 1590168"/>
                  <a:gd name="connsiteX8" fmla="*/ 207576 w 306851"/>
                  <a:gd name="connsiteY8" fmla="*/ 1220654 h 1590168"/>
                  <a:gd name="connsiteX9" fmla="*/ 99275 w 306851"/>
                  <a:gd name="connsiteY9" fmla="*/ 1220654 h 1590168"/>
                  <a:gd name="connsiteX10" fmla="*/ 99275 w 306851"/>
                  <a:gd name="connsiteY10" fmla="*/ 1098673 h 1590168"/>
                  <a:gd name="connsiteX11" fmla="*/ 99275 w 306851"/>
                  <a:gd name="connsiteY11" fmla="*/ 1152965 h 1590168"/>
                  <a:gd name="connsiteX12" fmla="*/ 207576 w 306851"/>
                  <a:gd name="connsiteY12" fmla="*/ 1152965 h 1590168"/>
                  <a:gd name="connsiteX13" fmla="*/ 207576 w 306851"/>
                  <a:gd name="connsiteY13" fmla="*/ 1098673 h 1590168"/>
                  <a:gd name="connsiteX14" fmla="*/ 99275 w 306851"/>
                  <a:gd name="connsiteY14" fmla="*/ 1098673 h 1590168"/>
                  <a:gd name="connsiteX15" fmla="*/ 99275 w 306851"/>
                  <a:gd name="connsiteY15" fmla="*/ 976691 h 1590168"/>
                  <a:gd name="connsiteX16" fmla="*/ 99275 w 306851"/>
                  <a:gd name="connsiteY16" fmla="*/ 1030983 h 1590168"/>
                  <a:gd name="connsiteX17" fmla="*/ 207576 w 306851"/>
                  <a:gd name="connsiteY17" fmla="*/ 1030983 h 1590168"/>
                  <a:gd name="connsiteX18" fmla="*/ 207576 w 306851"/>
                  <a:gd name="connsiteY18" fmla="*/ 976691 h 1590168"/>
                  <a:gd name="connsiteX19" fmla="*/ 99275 w 306851"/>
                  <a:gd name="connsiteY19" fmla="*/ 976691 h 1590168"/>
                  <a:gd name="connsiteX20" fmla="*/ 99275 w 306851"/>
                  <a:gd name="connsiteY20" fmla="*/ 854709 h 1590168"/>
                  <a:gd name="connsiteX21" fmla="*/ 99275 w 306851"/>
                  <a:gd name="connsiteY21" fmla="*/ 909001 h 1590168"/>
                  <a:gd name="connsiteX22" fmla="*/ 207576 w 306851"/>
                  <a:gd name="connsiteY22" fmla="*/ 909001 h 1590168"/>
                  <a:gd name="connsiteX23" fmla="*/ 207576 w 306851"/>
                  <a:gd name="connsiteY23" fmla="*/ 854709 h 1590168"/>
                  <a:gd name="connsiteX24" fmla="*/ 99275 w 306851"/>
                  <a:gd name="connsiteY24" fmla="*/ 854709 h 1590168"/>
                  <a:gd name="connsiteX25" fmla="*/ 99275 w 306851"/>
                  <a:gd name="connsiteY25" fmla="*/ 732727 h 1590168"/>
                  <a:gd name="connsiteX26" fmla="*/ 99275 w 306851"/>
                  <a:gd name="connsiteY26" fmla="*/ 787019 h 1590168"/>
                  <a:gd name="connsiteX27" fmla="*/ 207576 w 306851"/>
                  <a:gd name="connsiteY27" fmla="*/ 787019 h 1590168"/>
                  <a:gd name="connsiteX28" fmla="*/ 207576 w 306851"/>
                  <a:gd name="connsiteY28" fmla="*/ 732727 h 1590168"/>
                  <a:gd name="connsiteX29" fmla="*/ 99275 w 306851"/>
                  <a:gd name="connsiteY29" fmla="*/ 732727 h 1590168"/>
                  <a:gd name="connsiteX30" fmla="*/ 99275 w 306851"/>
                  <a:gd name="connsiteY30" fmla="*/ 610745 h 1590168"/>
                  <a:gd name="connsiteX31" fmla="*/ 99275 w 306851"/>
                  <a:gd name="connsiteY31" fmla="*/ 665038 h 1590168"/>
                  <a:gd name="connsiteX32" fmla="*/ 207576 w 306851"/>
                  <a:gd name="connsiteY32" fmla="*/ 665038 h 1590168"/>
                  <a:gd name="connsiteX33" fmla="*/ 207576 w 306851"/>
                  <a:gd name="connsiteY33" fmla="*/ 610745 h 1590168"/>
                  <a:gd name="connsiteX34" fmla="*/ 99275 w 306851"/>
                  <a:gd name="connsiteY34" fmla="*/ 610745 h 1590168"/>
                  <a:gd name="connsiteX35" fmla="*/ 99275 w 306851"/>
                  <a:gd name="connsiteY35" fmla="*/ 488763 h 1590168"/>
                  <a:gd name="connsiteX36" fmla="*/ 99275 w 306851"/>
                  <a:gd name="connsiteY36" fmla="*/ 543056 h 1590168"/>
                  <a:gd name="connsiteX37" fmla="*/ 207576 w 306851"/>
                  <a:gd name="connsiteY37" fmla="*/ 543056 h 1590168"/>
                  <a:gd name="connsiteX38" fmla="*/ 207576 w 306851"/>
                  <a:gd name="connsiteY38" fmla="*/ 488763 h 1590168"/>
                  <a:gd name="connsiteX39" fmla="*/ 99275 w 306851"/>
                  <a:gd name="connsiteY39" fmla="*/ 488763 h 1590168"/>
                  <a:gd name="connsiteX40" fmla="*/ 0 w 306851"/>
                  <a:gd name="connsiteY40" fmla="*/ 0 h 1590168"/>
                  <a:gd name="connsiteX41" fmla="*/ 306851 w 306851"/>
                  <a:gd name="connsiteY41" fmla="*/ 371475 h 1590168"/>
                  <a:gd name="connsiteX42" fmla="*/ 306851 w 306851"/>
                  <a:gd name="connsiteY42" fmla="*/ 1590168 h 1590168"/>
                  <a:gd name="connsiteX43" fmla="*/ 0 w 306851"/>
                  <a:gd name="connsiteY43" fmla="*/ 1590168 h 1590168"/>
                  <a:gd name="connsiteX44" fmla="*/ 0 w 306851"/>
                  <a:gd name="connsiteY44" fmla="*/ 0 h 1590168"/>
                  <a:gd name="connsiteX0" fmla="*/ 99275 w 306851"/>
                  <a:gd name="connsiteY0" fmla="*/ 1152513 h 1400045"/>
                  <a:gd name="connsiteX1" fmla="*/ 99275 w 306851"/>
                  <a:gd name="connsiteY1" fmla="*/ 1206806 h 1400045"/>
                  <a:gd name="connsiteX2" fmla="*/ 207576 w 306851"/>
                  <a:gd name="connsiteY2" fmla="*/ 1206806 h 1400045"/>
                  <a:gd name="connsiteX3" fmla="*/ 207576 w 306851"/>
                  <a:gd name="connsiteY3" fmla="*/ 1152513 h 1400045"/>
                  <a:gd name="connsiteX4" fmla="*/ 99275 w 306851"/>
                  <a:gd name="connsiteY4" fmla="*/ 1152513 h 1400045"/>
                  <a:gd name="connsiteX5" fmla="*/ 99275 w 306851"/>
                  <a:gd name="connsiteY5" fmla="*/ 1030531 h 1400045"/>
                  <a:gd name="connsiteX6" fmla="*/ 99275 w 306851"/>
                  <a:gd name="connsiteY6" fmla="*/ 1084824 h 1400045"/>
                  <a:gd name="connsiteX7" fmla="*/ 207576 w 306851"/>
                  <a:gd name="connsiteY7" fmla="*/ 1084824 h 1400045"/>
                  <a:gd name="connsiteX8" fmla="*/ 207576 w 306851"/>
                  <a:gd name="connsiteY8" fmla="*/ 1030531 h 1400045"/>
                  <a:gd name="connsiteX9" fmla="*/ 99275 w 306851"/>
                  <a:gd name="connsiteY9" fmla="*/ 1030531 h 1400045"/>
                  <a:gd name="connsiteX10" fmla="*/ 99275 w 306851"/>
                  <a:gd name="connsiteY10" fmla="*/ 908550 h 1400045"/>
                  <a:gd name="connsiteX11" fmla="*/ 99275 w 306851"/>
                  <a:gd name="connsiteY11" fmla="*/ 962842 h 1400045"/>
                  <a:gd name="connsiteX12" fmla="*/ 207576 w 306851"/>
                  <a:gd name="connsiteY12" fmla="*/ 962842 h 1400045"/>
                  <a:gd name="connsiteX13" fmla="*/ 207576 w 306851"/>
                  <a:gd name="connsiteY13" fmla="*/ 908550 h 1400045"/>
                  <a:gd name="connsiteX14" fmla="*/ 99275 w 306851"/>
                  <a:gd name="connsiteY14" fmla="*/ 908550 h 1400045"/>
                  <a:gd name="connsiteX15" fmla="*/ 99275 w 306851"/>
                  <a:gd name="connsiteY15" fmla="*/ 786568 h 1400045"/>
                  <a:gd name="connsiteX16" fmla="*/ 99275 w 306851"/>
                  <a:gd name="connsiteY16" fmla="*/ 840860 h 1400045"/>
                  <a:gd name="connsiteX17" fmla="*/ 207576 w 306851"/>
                  <a:gd name="connsiteY17" fmla="*/ 840860 h 1400045"/>
                  <a:gd name="connsiteX18" fmla="*/ 207576 w 306851"/>
                  <a:gd name="connsiteY18" fmla="*/ 786568 h 1400045"/>
                  <a:gd name="connsiteX19" fmla="*/ 99275 w 306851"/>
                  <a:gd name="connsiteY19" fmla="*/ 786568 h 1400045"/>
                  <a:gd name="connsiteX20" fmla="*/ 99275 w 306851"/>
                  <a:gd name="connsiteY20" fmla="*/ 664586 h 1400045"/>
                  <a:gd name="connsiteX21" fmla="*/ 99275 w 306851"/>
                  <a:gd name="connsiteY21" fmla="*/ 718878 h 1400045"/>
                  <a:gd name="connsiteX22" fmla="*/ 207576 w 306851"/>
                  <a:gd name="connsiteY22" fmla="*/ 718878 h 1400045"/>
                  <a:gd name="connsiteX23" fmla="*/ 207576 w 306851"/>
                  <a:gd name="connsiteY23" fmla="*/ 664586 h 1400045"/>
                  <a:gd name="connsiteX24" fmla="*/ 99275 w 306851"/>
                  <a:gd name="connsiteY24" fmla="*/ 664586 h 1400045"/>
                  <a:gd name="connsiteX25" fmla="*/ 99275 w 306851"/>
                  <a:gd name="connsiteY25" fmla="*/ 542604 h 1400045"/>
                  <a:gd name="connsiteX26" fmla="*/ 99275 w 306851"/>
                  <a:gd name="connsiteY26" fmla="*/ 596896 h 1400045"/>
                  <a:gd name="connsiteX27" fmla="*/ 207576 w 306851"/>
                  <a:gd name="connsiteY27" fmla="*/ 596896 h 1400045"/>
                  <a:gd name="connsiteX28" fmla="*/ 207576 w 306851"/>
                  <a:gd name="connsiteY28" fmla="*/ 542604 h 1400045"/>
                  <a:gd name="connsiteX29" fmla="*/ 99275 w 306851"/>
                  <a:gd name="connsiteY29" fmla="*/ 542604 h 1400045"/>
                  <a:gd name="connsiteX30" fmla="*/ 99275 w 306851"/>
                  <a:gd name="connsiteY30" fmla="*/ 420622 h 1400045"/>
                  <a:gd name="connsiteX31" fmla="*/ 99275 w 306851"/>
                  <a:gd name="connsiteY31" fmla="*/ 474915 h 1400045"/>
                  <a:gd name="connsiteX32" fmla="*/ 207576 w 306851"/>
                  <a:gd name="connsiteY32" fmla="*/ 474915 h 1400045"/>
                  <a:gd name="connsiteX33" fmla="*/ 207576 w 306851"/>
                  <a:gd name="connsiteY33" fmla="*/ 420622 h 1400045"/>
                  <a:gd name="connsiteX34" fmla="*/ 99275 w 306851"/>
                  <a:gd name="connsiteY34" fmla="*/ 420622 h 1400045"/>
                  <a:gd name="connsiteX35" fmla="*/ 99275 w 306851"/>
                  <a:gd name="connsiteY35" fmla="*/ 298640 h 1400045"/>
                  <a:gd name="connsiteX36" fmla="*/ 99275 w 306851"/>
                  <a:gd name="connsiteY36" fmla="*/ 352933 h 1400045"/>
                  <a:gd name="connsiteX37" fmla="*/ 207576 w 306851"/>
                  <a:gd name="connsiteY37" fmla="*/ 352933 h 1400045"/>
                  <a:gd name="connsiteX38" fmla="*/ 207576 w 306851"/>
                  <a:gd name="connsiteY38" fmla="*/ 298640 h 1400045"/>
                  <a:gd name="connsiteX39" fmla="*/ 99275 w 306851"/>
                  <a:gd name="connsiteY39" fmla="*/ 298640 h 1400045"/>
                  <a:gd name="connsiteX40" fmla="*/ 0 w 306851"/>
                  <a:gd name="connsiteY40" fmla="*/ 0 h 1400045"/>
                  <a:gd name="connsiteX41" fmla="*/ 306851 w 306851"/>
                  <a:gd name="connsiteY41" fmla="*/ 181352 h 1400045"/>
                  <a:gd name="connsiteX42" fmla="*/ 306851 w 306851"/>
                  <a:gd name="connsiteY42" fmla="*/ 1400045 h 1400045"/>
                  <a:gd name="connsiteX43" fmla="*/ 0 w 306851"/>
                  <a:gd name="connsiteY43" fmla="*/ 1400045 h 1400045"/>
                  <a:gd name="connsiteX44" fmla="*/ 0 w 306851"/>
                  <a:gd name="connsiteY44" fmla="*/ 0 h 1400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306851" h="1400045">
                    <a:moveTo>
                      <a:pt x="99275" y="1152513"/>
                    </a:moveTo>
                    <a:lnTo>
                      <a:pt x="99275" y="1206806"/>
                    </a:lnTo>
                    <a:lnTo>
                      <a:pt x="207576" y="1206806"/>
                    </a:lnTo>
                    <a:lnTo>
                      <a:pt x="207576" y="1152513"/>
                    </a:lnTo>
                    <a:lnTo>
                      <a:pt x="99275" y="1152513"/>
                    </a:lnTo>
                    <a:close/>
                    <a:moveTo>
                      <a:pt x="99275" y="1030531"/>
                    </a:moveTo>
                    <a:lnTo>
                      <a:pt x="99275" y="1084824"/>
                    </a:lnTo>
                    <a:lnTo>
                      <a:pt x="207576" y="1084824"/>
                    </a:lnTo>
                    <a:lnTo>
                      <a:pt x="207576" y="1030531"/>
                    </a:lnTo>
                    <a:lnTo>
                      <a:pt x="99275" y="1030531"/>
                    </a:lnTo>
                    <a:close/>
                    <a:moveTo>
                      <a:pt x="99275" y="908550"/>
                    </a:moveTo>
                    <a:lnTo>
                      <a:pt x="99275" y="962842"/>
                    </a:lnTo>
                    <a:lnTo>
                      <a:pt x="207576" y="962842"/>
                    </a:lnTo>
                    <a:lnTo>
                      <a:pt x="207576" y="908550"/>
                    </a:lnTo>
                    <a:lnTo>
                      <a:pt x="99275" y="908550"/>
                    </a:lnTo>
                    <a:close/>
                    <a:moveTo>
                      <a:pt x="99275" y="786568"/>
                    </a:moveTo>
                    <a:lnTo>
                      <a:pt x="99275" y="840860"/>
                    </a:lnTo>
                    <a:lnTo>
                      <a:pt x="207576" y="840860"/>
                    </a:lnTo>
                    <a:lnTo>
                      <a:pt x="207576" y="786568"/>
                    </a:lnTo>
                    <a:lnTo>
                      <a:pt x="99275" y="786568"/>
                    </a:lnTo>
                    <a:close/>
                    <a:moveTo>
                      <a:pt x="99275" y="664586"/>
                    </a:moveTo>
                    <a:lnTo>
                      <a:pt x="99275" y="718878"/>
                    </a:lnTo>
                    <a:lnTo>
                      <a:pt x="207576" y="718878"/>
                    </a:lnTo>
                    <a:lnTo>
                      <a:pt x="207576" y="664586"/>
                    </a:lnTo>
                    <a:lnTo>
                      <a:pt x="99275" y="664586"/>
                    </a:lnTo>
                    <a:close/>
                    <a:moveTo>
                      <a:pt x="99275" y="542604"/>
                    </a:moveTo>
                    <a:lnTo>
                      <a:pt x="99275" y="596896"/>
                    </a:lnTo>
                    <a:lnTo>
                      <a:pt x="207576" y="596896"/>
                    </a:lnTo>
                    <a:lnTo>
                      <a:pt x="207576" y="542604"/>
                    </a:lnTo>
                    <a:lnTo>
                      <a:pt x="99275" y="542604"/>
                    </a:lnTo>
                    <a:close/>
                    <a:moveTo>
                      <a:pt x="99275" y="420622"/>
                    </a:moveTo>
                    <a:lnTo>
                      <a:pt x="99275" y="474915"/>
                    </a:lnTo>
                    <a:lnTo>
                      <a:pt x="207576" y="474915"/>
                    </a:lnTo>
                    <a:lnTo>
                      <a:pt x="207576" y="420622"/>
                    </a:lnTo>
                    <a:lnTo>
                      <a:pt x="99275" y="420622"/>
                    </a:lnTo>
                    <a:close/>
                    <a:moveTo>
                      <a:pt x="99275" y="298640"/>
                    </a:moveTo>
                    <a:lnTo>
                      <a:pt x="99275" y="352933"/>
                    </a:lnTo>
                    <a:lnTo>
                      <a:pt x="207576" y="352933"/>
                    </a:lnTo>
                    <a:lnTo>
                      <a:pt x="207576" y="298640"/>
                    </a:lnTo>
                    <a:lnTo>
                      <a:pt x="99275" y="298640"/>
                    </a:lnTo>
                    <a:close/>
                    <a:moveTo>
                      <a:pt x="0" y="0"/>
                    </a:moveTo>
                    <a:lnTo>
                      <a:pt x="306851" y="181352"/>
                    </a:lnTo>
                    <a:lnTo>
                      <a:pt x="306851" y="1400045"/>
                    </a:lnTo>
                    <a:lnTo>
                      <a:pt x="0" y="140004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800">
                  <a:defRPr/>
                </a:pPr>
                <a:endParaRPr lang="ko-KR" altLang="en-US" sz="2000" kern="0" dirty="0" smtClea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66" name="Freeform: Shape 175">
                <a:extLst>
                  <a:ext uri="{FF2B5EF4-FFF2-40B4-BE49-F238E27FC236}">
                    <a16:creationId xmlns="" xmlns:a16="http://schemas.microsoft.com/office/drawing/2014/main" id="{081C78CA-E12A-4358-A209-76E10566621F}"/>
                  </a:ext>
                </a:extLst>
              </p:cNvPr>
              <p:cNvSpPr/>
              <p:nvPr/>
            </p:nvSpPr>
            <p:spPr>
              <a:xfrm flipH="1">
                <a:off x="3387275" y="2734432"/>
                <a:ext cx="351859" cy="1020419"/>
              </a:xfrm>
              <a:custGeom>
                <a:avLst/>
                <a:gdLst>
                  <a:gd name="connsiteX0" fmla="*/ 159201 w 408118"/>
                  <a:gd name="connsiteY0" fmla="*/ 578755 h 1158732"/>
                  <a:gd name="connsiteX1" fmla="*/ 159201 w 408118"/>
                  <a:gd name="connsiteY1" fmla="*/ 665832 h 1158732"/>
                  <a:gd name="connsiteX2" fmla="*/ 248917 w 408118"/>
                  <a:gd name="connsiteY2" fmla="*/ 665832 h 1158732"/>
                  <a:gd name="connsiteX3" fmla="*/ 248917 w 408118"/>
                  <a:gd name="connsiteY3" fmla="*/ 578755 h 1158732"/>
                  <a:gd name="connsiteX4" fmla="*/ 159201 w 408118"/>
                  <a:gd name="connsiteY4" fmla="*/ 578755 h 1158732"/>
                  <a:gd name="connsiteX5" fmla="*/ 278823 w 408118"/>
                  <a:gd name="connsiteY5" fmla="*/ 576996 h 1158732"/>
                  <a:gd name="connsiteX6" fmla="*/ 278823 w 408118"/>
                  <a:gd name="connsiteY6" fmla="*/ 664073 h 1158732"/>
                  <a:gd name="connsiteX7" fmla="*/ 365020 w 408118"/>
                  <a:gd name="connsiteY7" fmla="*/ 664073 h 1158732"/>
                  <a:gd name="connsiteX8" fmla="*/ 365020 w 408118"/>
                  <a:gd name="connsiteY8" fmla="*/ 576996 h 1158732"/>
                  <a:gd name="connsiteX9" fmla="*/ 278823 w 408118"/>
                  <a:gd name="connsiteY9" fmla="*/ 576996 h 1158732"/>
                  <a:gd name="connsiteX10" fmla="*/ 43979 w 408118"/>
                  <a:gd name="connsiteY10" fmla="*/ 576996 h 1158732"/>
                  <a:gd name="connsiteX11" fmla="*/ 43979 w 408118"/>
                  <a:gd name="connsiteY11" fmla="*/ 664952 h 1158732"/>
                  <a:gd name="connsiteX12" fmla="*/ 131935 w 408118"/>
                  <a:gd name="connsiteY12" fmla="*/ 665832 h 1158732"/>
                  <a:gd name="connsiteX13" fmla="*/ 132814 w 408118"/>
                  <a:gd name="connsiteY13" fmla="*/ 576996 h 1158732"/>
                  <a:gd name="connsiteX14" fmla="*/ 43979 w 408118"/>
                  <a:gd name="connsiteY14" fmla="*/ 576996 h 1158732"/>
                  <a:gd name="connsiteX15" fmla="*/ 160960 w 408118"/>
                  <a:gd name="connsiteY15" fmla="*/ 449459 h 1158732"/>
                  <a:gd name="connsiteX16" fmla="*/ 160960 w 408118"/>
                  <a:gd name="connsiteY16" fmla="*/ 539174 h 1158732"/>
                  <a:gd name="connsiteX17" fmla="*/ 248917 w 408118"/>
                  <a:gd name="connsiteY17" fmla="*/ 539174 h 1158732"/>
                  <a:gd name="connsiteX18" fmla="*/ 248917 w 408118"/>
                  <a:gd name="connsiteY18" fmla="*/ 449459 h 1158732"/>
                  <a:gd name="connsiteX19" fmla="*/ 160960 w 408118"/>
                  <a:gd name="connsiteY19" fmla="*/ 449459 h 1158732"/>
                  <a:gd name="connsiteX20" fmla="*/ 44858 w 408118"/>
                  <a:gd name="connsiteY20" fmla="*/ 449459 h 1158732"/>
                  <a:gd name="connsiteX21" fmla="*/ 44858 w 408118"/>
                  <a:gd name="connsiteY21" fmla="*/ 539174 h 1158732"/>
                  <a:gd name="connsiteX22" fmla="*/ 131935 w 408118"/>
                  <a:gd name="connsiteY22" fmla="*/ 539174 h 1158732"/>
                  <a:gd name="connsiteX23" fmla="*/ 131935 w 408118"/>
                  <a:gd name="connsiteY23" fmla="*/ 449459 h 1158732"/>
                  <a:gd name="connsiteX24" fmla="*/ 44858 w 408118"/>
                  <a:gd name="connsiteY24" fmla="*/ 449459 h 1158732"/>
                  <a:gd name="connsiteX25" fmla="*/ 278823 w 408118"/>
                  <a:gd name="connsiteY25" fmla="*/ 448579 h 1158732"/>
                  <a:gd name="connsiteX26" fmla="*/ 278823 w 408118"/>
                  <a:gd name="connsiteY26" fmla="*/ 538295 h 1158732"/>
                  <a:gd name="connsiteX27" fmla="*/ 365020 w 408118"/>
                  <a:gd name="connsiteY27" fmla="*/ 538295 h 1158732"/>
                  <a:gd name="connsiteX28" fmla="*/ 365020 w 408118"/>
                  <a:gd name="connsiteY28" fmla="*/ 448579 h 1158732"/>
                  <a:gd name="connsiteX29" fmla="*/ 278823 w 408118"/>
                  <a:gd name="connsiteY29" fmla="*/ 448579 h 1158732"/>
                  <a:gd name="connsiteX30" fmla="*/ 277943 w 408118"/>
                  <a:gd name="connsiteY30" fmla="*/ 318403 h 1158732"/>
                  <a:gd name="connsiteX31" fmla="*/ 277943 w 408118"/>
                  <a:gd name="connsiteY31" fmla="*/ 408999 h 1158732"/>
                  <a:gd name="connsiteX32" fmla="*/ 366779 w 408118"/>
                  <a:gd name="connsiteY32" fmla="*/ 408999 h 1158732"/>
                  <a:gd name="connsiteX33" fmla="*/ 366779 w 408118"/>
                  <a:gd name="connsiteY33" fmla="*/ 318403 h 1158732"/>
                  <a:gd name="connsiteX34" fmla="*/ 277943 w 408118"/>
                  <a:gd name="connsiteY34" fmla="*/ 318403 h 1158732"/>
                  <a:gd name="connsiteX35" fmla="*/ 159201 w 408118"/>
                  <a:gd name="connsiteY35" fmla="*/ 318403 h 1158732"/>
                  <a:gd name="connsiteX36" fmla="*/ 159201 w 408118"/>
                  <a:gd name="connsiteY36" fmla="*/ 407239 h 1158732"/>
                  <a:gd name="connsiteX37" fmla="*/ 249797 w 408118"/>
                  <a:gd name="connsiteY37" fmla="*/ 407239 h 1158732"/>
                  <a:gd name="connsiteX38" fmla="*/ 249797 w 408118"/>
                  <a:gd name="connsiteY38" fmla="*/ 318403 h 1158732"/>
                  <a:gd name="connsiteX39" fmla="*/ 159201 w 408118"/>
                  <a:gd name="connsiteY39" fmla="*/ 318403 h 1158732"/>
                  <a:gd name="connsiteX40" fmla="*/ 43979 w 408118"/>
                  <a:gd name="connsiteY40" fmla="*/ 318403 h 1158732"/>
                  <a:gd name="connsiteX41" fmla="*/ 43979 w 408118"/>
                  <a:gd name="connsiteY41" fmla="*/ 408119 h 1158732"/>
                  <a:gd name="connsiteX42" fmla="*/ 131935 w 408118"/>
                  <a:gd name="connsiteY42" fmla="*/ 408119 h 1158732"/>
                  <a:gd name="connsiteX43" fmla="*/ 131935 w 408118"/>
                  <a:gd name="connsiteY43" fmla="*/ 318403 h 1158732"/>
                  <a:gd name="connsiteX44" fmla="*/ 43979 w 408118"/>
                  <a:gd name="connsiteY44" fmla="*/ 318403 h 1158732"/>
                  <a:gd name="connsiteX45" fmla="*/ 43098 w 408118"/>
                  <a:gd name="connsiteY45" fmla="*/ 187348 h 1158732"/>
                  <a:gd name="connsiteX46" fmla="*/ 43098 w 408118"/>
                  <a:gd name="connsiteY46" fmla="*/ 279702 h 1158732"/>
                  <a:gd name="connsiteX47" fmla="*/ 132814 w 408118"/>
                  <a:gd name="connsiteY47" fmla="*/ 279702 h 1158732"/>
                  <a:gd name="connsiteX48" fmla="*/ 132814 w 408118"/>
                  <a:gd name="connsiteY48" fmla="*/ 187348 h 1158732"/>
                  <a:gd name="connsiteX49" fmla="*/ 43098 w 408118"/>
                  <a:gd name="connsiteY49" fmla="*/ 187348 h 1158732"/>
                  <a:gd name="connsiteX50" fmla="*/ 43979 w 408118"/>
                  <a:gd name="connsiteY50" fmla="*/ 60690 h 1158732"/>
                  <a:gd name="connsiteX51" fmla="*/ 43979 w 408118"/>
                  <a:gd name="connsiteY51" fmla="*/ 152166 h 1158732"/>
                  <a:gd name="connsiteX52" fmla="*/ 133694 w 408118"/>
                  <a:gd name="connsiteY52" fmla="*/ 152166 h 1158732"/>
                  <a:gd name="connsiteX53" fmla="*/ 133694 w 408118"/>
                  <a:gd name="connsiteY53" fmla="*/ 60690 h 1158732"/>
                  <a:gd name="connsiteX54" fmla="*/ 43979 w 408118"/>
                  <a:gd name="connsiteY54" fmla="*/ 60690 h 1158732"/>
                  <a:gd name="connsiteX55" fmla="*/ 0 w 408118"/>
                  <a:gd name="connsiteY55" fmla="*/ 0 h 1158732"/>
                  <a:gd name="connsiteX56" fmla="*/ 155702 w 408118"/>
                  <a:gd name="connsiteY56" fmla="*/ 0 h 1158732"/>
                  <a:gd name="connsiteX57" fmla="*/ 155702 w 408118"/>
                  <a:gd name="connsiteY57" fmla="*/ 281913 h 1158732"/>
                  <a:gd name="connsiteX58" fmla="*/ 277943 w 408118"/>
                  <a:gd name="connsiteY58" fmla="*/ 281913 h 1158732"/>
                  <a:gd name="connsiteX59" fmla="*/ 277943 w 408118"/>
                  <a:gd name="connsiteY59" fmla="*/ 282341 h 1158732"/>
                  <a:gd name="connsiteX60" fmla="*/ 366779 w 408118"/>
                  <a:gd name="connsiteY60" fmla="*/ 282341 h 1158732"/>
                  <a:gd name="connsiteX61" fmla="*/ 366779 w 408118"/>
                  <a:gd name="connsiteY61" fmla="*/ 281913 h 1158732"/>
                  <a:gd name="connsiteX62" fmla="*/ 408118 w 408118"/>
                  <a:gd name="connsiteY62" fmla="*/ 281913 h 1158732"/>
                  <a:gd name="connsiteX63" fmla="*/ 408118 w 408118"/>
                  <a:gd name="connsiteY63" fmla="*/ 1158732 h 1158732"/>
                  <a:gd name="connsiteX64" fmla="*/ 0 w 408118"/>
                  <a:gd name="connsiteY64" fmla="*/ 1158732 h 1158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408118" h="1158732">
                    <a:moveTo>
                      <a:pt x="159201" y="578755"/>
                    </a:moveTo>
                    <a:cubicBezTo>
                      <a:pt x="159201" y="608660"/>
                      <a:pt x="159201" y="638565"/>
                      <a:pt x="159201" y="665832"/>
                    </a:cubicBezTo>
                    <a:cubicBezTo>
                      <a:pt x="189986" y="668470"/>
                      <a:pt x="222530" y="665832"/>
                      <a:pt x="248917" y="665832"/>
                    </a:cubicBezTo>
                    <a:cubicBezTo>
                      <a:pt x="248917" y="634168"/>
                      <a:pt x="248917" y="608660"/>
                      <a:pt x="248917" y="578755"/>
                    </a:cubicBezTo>
                    <a:cubicBezTo>
                      <a:pt x="217253" y="578755"/>
                      <a:pt x="188227" y="578755"/>
                      <a:pt x="159201" y="578755"/>
                    </a:cubicBezTo>
                    <a:close/>
                    <a:moveTo>
                      <a:pt x="278823" y="576996"/>
                    </a:moveTo>
                    <a:cubicBezTo>
                      <a:pt x="278823" y="606901"/>
                      <a:pt x="278823" y="632408"/>
                      <a:pt x="278823" y="664073"/>
                    </a:cubicBezTo>
                    <a:cubicBezTo>
                      <a:pt x="311366" y="664073"/>
                      <a:pt x="346549" y="664952"/>
                      <a:pt x="365020" y="664073"/>
                    </a:cubicBezTo>
                    <a:cubicBezTo>
                      <a:pt x="365020" y="632408"/>
                      <a:pt x="365020" y="606021"/>
                      <a:pt x="365020" y="576996"/>
                    </a:cubicBezTo>
                    <a:cubicBezTo>
                      <a:pt x="335114" y="576996"/>
                      <a:pt x="306968" y="576996"/>
                      <a:pt x="278823" y="576996"/>
                    </a:cubicBezTo>
                    <a:close/>
                    <a:moveTo>
                      <a:pt x="43979" y="576996"/>
                    </a:moveTo>
                    <a:cubicBezTo>
                      <a:pt x="43979" y="605142"/>
                      <a:pt x="43979" y="638565"/>
                      <a:pt x="43979" y="664952"/>
                    </a:cubicBezTo>
                    <a:cubicBezTo>
                      <a:pt x="81799" y="664952"/>
                      <a:pt x="105548" y="664073"/>
                      <a:pt x="131935" y="665832"/>
                    </a:cubicBezTo>
                    <a:cubicBezTo>
                      <a:pt x="131935" y="631529"/>
                      <a:pt x="132814" y="602503"/>
                      <a:pt x="132814" y="576996"/>
                    </a:cubicBezTo>
                    <a:cubicBezTo>
                      <a:pt x="102030" y="576996"/>
                      <a:pt x="73884" y="576996"/>
                      <a:pt x="43979" y="576996"/>
                    </a:cubicBezTo>
                    <a:close/>
                    <a:moveTo>
                      <a:pt x="160960" y="449459"/>
                    </a:moveTo>
                    <a:cubicBezTo>
                      <a:pt x="160960" y="481123"/>
                      <a:pt x="160960" y="509268"/>
                      <a:pt x="160960" y="539174"/>
                    </a:cubicBezTo>
                    <a:cubicBezTo>
                      <a:pt x="189986" y="539174"/>
                      <a:pt x="217253" y="539174"/>
                      <a:pt x="248917" y="539174"/>
                    </a:cubicBezTo>
                    <a:cubicBezTo>
                      <a:pt x="248917" y="506630"/>
                      <a:pt x="248917" y="477604"/>
                      <a:pt x="248917" y="449459"/>
                    </a:cubicBezTo>
                    <a:cubicBezTo>
                      <a:pt x="218132" y="449459"/>
                      <a:pt x="189107" y="449459"/>
                      <a:pt x="160960" y="449459"/>
                    </a:cubicBezTo>
                    <a:close/>
                    <a:moveTo>
                      <a:pt x="44858" y="449459"/>
                    </a:moveTo>
                    <a:cubicBezTo>
                      <a:pt x="44858" y="481123"/>
                      <a:pt x="44858" y="509268"/>
                      <a:pt x="44858" y="539174"/>
                    </a:cubicBezTo>
                    <a:cubicBezTo>
                      <a:pt x="75643" y="539174"/>
                      <a:pt x="102910" y="539174"/>
                      <a:pt x="131935" y="539174"/>
                    </a:cubicBezTo>
                    <a:cubicBezTo>
                      <a:pt x="131935" y="505751"/>
                      <a:pt x="131935" y="477604"/>
                      <a:pt x="131935" y="449459"/>
                    </a:cubicBezTo>
                    <a:cubicBezTo>
                      <a:pt x="100271" y="449459"/>
                      <a:pt x="72125" y="449459"/>
                      <a:pt x="44858" y="449459"/>
                    </a:cubicBezTo>
                    <a:close/>
                    <a:moveTo>
                      <a:pt x="278823" y="448579"/>
                    </a:moveTo>
                    <a:cubicBezTo>
                      <a:pt x="278823" y="479364"/>
                      <a:pt x="278823" y="508389"/>
                      <a:pt x="278823" y="538295"/>
                    </a:cubicBezTo>
                    <a:cubicBezTo>
                      <a:pt x="308727" y="538295"/>
                      <a:pt x="335994" y="538295"/>
                      <a:pt x="365020" y="538295"/>
                    </a:cubicBezTo>
                    <a:cubicBezTo>
                      <a:pt x="365020" y="507510"/>
                      <a:pt x="365020" y="478484"/>
                      <a:pt x="365020" y="448579"/>
                    </a:cubicBezTo>
                    <a:cubicBezTo>
                      <a:pt x="335994" y="448579"/>
                      <a:pt x="308727" y="448579"/>
                      <a:pt x="278823" y="448579"/>
                    </a:cubicBezTo>
                    <a:close/>
                    <a:moveTo>
                      <a:pt x="277943" y="318403"/>
                    </a:moveTo>
                    <a:cubicBezTo>
                      <a:pt x="277943" y="350067"/>
                      <a:pt x="277943" y="379094"/>
                      <a:pt x="277943" y="408999"/>
                    </a:cubicBezTo>
                    <a:cubicBezTo>
                      <a:pt x="309607" y="408999"/>
                      <a:pt x="337753" y="408999"/>
                      <a:pt x="366779" y="408999"/>
                    </a:cubicBezTo>
                    <a:cubicBezTo>
                      <a:pt x="366779" y="378214"/>
                      <a:pt x="366779" y="349187"/>
                      <a:pt x="366779" y="318403"/>
                    </a:cubicBezTo>
                    <a:cubicBezTo>
                      <a:pt x="336873" y="318403"/>
                      <a:pt x="307848" y="318403"/>
                      <a:pt x="277943" y="318403"/>
                    </a:cubicBezTo>
                    <a:close/>
                    <a:moveTo>
                      <a:pt x="159201" y="318403"/>
                    </a:moveTo>
                    <a:cubicBezTo>
                      <a:pt x="159201" y="349187"/>
                      <a:pt x="159201" y="378214"/>
                      <a:pt x="159201" y="407239"/>
                    </a:cubicBezTo>
                    <a:cubicBezTo>
                      <a:pt x="190866" y="407239"/>
                      <a:pt x="219892" y="407239"/>
                      <a:pt x="249797" y="407239"/>
                    </a:cubicBezTo>
                    <a:cubicBezTo>
                      <a:pt x="249797" y="376454"/>
                      <a:pt x="249797" y="349187"/>
                      <a:pt x="249797" y="318403"/>
                    </a:cubicBezTo>
                    <a:cubicBezTo>
                      <a:pt x="217253" y="318403"/>
                      <a:pt x="188227" y="318403"/>
                      <a:pt x="159201" y="318403"/>
                    </a:cubicBezTo>
                    <a:close/>
                    <a:moveTo>
                      <a:pt x="43979" y="318403"/>
                    </a:moveTo>
                    <a:cubicBezTo>
                      <a:pt x="43979" y="349187"/>
                      <a:pt x="43979" y="378214"/>
                      <a:pt x="43979" y="408119"/>
                    </a:cubicBezTo>
                    <a:cubicBezTo>
                      <a:pt x="74764" y="408119"/>
                      <a:pt x="102910" y="408119"/>
                      <a:pt x="131935" y="408119"/>
                    </a:cubicBezTo>
                    <a:cubicBezTo>
                      <a:pt x="131935" y="376454"/>
                      <a:pt x="131935" y="347429"/>
                      <a:pt x="131935" y="318403"/>
                    </a:cubicBezTo>
                    <a:cubicBezTo>
                      <a:pt x="100271" y="318403"/>
                      <a:pt x="72125" y="318403"/>
                      <a:pt x="43979" y="318403"/>
                    </a:cubicBezTo>
                    <a:close/>
                    <a:moveTo>
                      <a:pt x="43098" y="187348"/>
                    </a:moveTo>
                    <a:cubicBezTo>
                      <a:pt x="43098" y="219892"/>
                      <a:pt x="43098" y="249797"/>
                      <a:pt x="43098" y="279702"/>
                    </a:cubicBezTo>
                    <a:cubicBezTo>
                      <a:pt x="74764" y="279702"/>
                      <a:pt x="104668" y="279702"/>
                      <a:pt x="132814" y="279702"/>
                    </a:cubicBezTo>
                    <a:cubicBezTo>
                      <a:pt x="132814" y="247159"/>
                      <a:pt x="132814" y="218133"/>
                      <a:pt x="132814" y="187348"/>
                    </a:cubicBezTo>
                    <a:cubicBezTo>
                      <a:pt x="102030" y="187348"/>
                      <a:pt x="73884" y="187348"/>
                      <a:pt x="43098" y="187348"/>
                    </a:cubicBezTo>
                    <a:close/>
                    <a:moveTo>
                      <a:pt x="43979" y="60690"/>
                    </a:moveTo>
                    <a:cubicBezTo>
                      <a:pt x="43979" y="93234"/>
                      <a:pt x="43979" y="122259"/>
                      <a:pt x="43979" y="152166"/>
                    </a:cubicBezTo>
                    <a:cubicBezTo>
                      <a:pt x="75643" y="152166"/>
                      <a:pt x="103789" y="152166"/>
                      <a:pt x="133694" y="152166"/>
                    </a:cubicBezTo>
                    <a:cubicBezTo>
                      <a:pt x="133694" y="121380"/>
                      <a:pt x="133694" y="93234"/>
                      <a:pt x="133694" y="60690"/>
                    </a:cubicBezTo>
                    <a:cubicBezTo>
                      <a:pt x="101151" y="60690"/>
                      <a:pt x="72125" y="60690"/>
                      <a:pt x="43979" y="60690"/>
                    </a:cubicBezTo>
                    <a:close/>
                    <a:moveTo>
                      <a:pt x="0" y="0"/>
                    </a:moveTo>
                    <a:lnTo>
                      <a:pt x="155702" y="0"/>
                    </a:lnTo>
                    <a:lnTo>
                      <a:pt x="155702" y="281913"/>
                    </a:lnTo>
                    <a:lnTo>
                      <a:pt x="277943" y="281913"/>
                    </a:lnTo>
                    <a:lnTo>
                      <a:pt x="277943" y="282341"/>
                    </a:lnTo>
                    <a:cubicBezTo>
                      <a:pt x="307848" y="282341"/>
                      <a:pt x="334235" y="282341"/>
                      <a:pt x="366779" y="282341"/>
                    </a:cubicBezTo>
                    <a:lnTo>
                      <a:pt x="366779" y="281913"/>
                    </a:lnTo>
                    <a:lnTo>
                      <a:pt x="408118" y="281913"/>
                    </a:lnTo>
                    <a:lnTo>
                      <a:pt x="408118" y="1158732"/>
                    </a:lnTo>
                    <a:lnTo>
                      <a:pt x="0" y="115873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defTabSz="685800">
                  <a:defRPr/>
                </a:pPr>
                <a:endParaRPr lang="en-US" sz="1400" kern="0" dirty="0" smtClea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</p:grpSp>
        <p:grpSp>
          <p:nvGrpSpPr>
            <p:cNvPr id="10" name="Group 35">
              <a:extLst>
                <a:ext uri="{FF2B5EF4-FFF2-40B4-BE49-F238E27FC236}">
                  <a16:creationId xmlns="" xmlns:a16="http://schemas.microsoft.com/office/drawing/2014/main" id="{32A74F96-8F0D-48B6-AA82-2AAC090A7956}"/>
                </a:ext>
              </a:extLst>
            </p:cNvPr>
            <p:cNvGrpSpPr/>
            <p:nvPr/>
          </p:nvGrpSpPr>
          <p:grpSpPr>
            <a:xfrm>
              <a:off x="4107219" y="2771850"/>
              <a:ext cx="3724579" cy="1339211"/>
              <a:chOff x="72370" y="560319"/>
              <a:chExt cx="3724579" cy="1339211"/>
            </a:xfrm>
          </p:grpSpPr>
          <p:grpSp>
            <p:nvGrpSpPr>
              <p:cNvPr id="22" name="Group 36">
                <a:extLst>
                  <a:ext uri="{FF2B5EF4-FFF2-40B4-BE49-F238E27FC236}">
                    <a16:creationId xmlns="" xmlns:a16="http://schemas.microsoft.com/office/drawing/2014/main" id="{A9B7F142-3292-4340-A182-29D78D5C968C}"/>
                  </a:ext>
                </a:extLst>
              </p:cNvPr>
              <p:cNvGrpSpPr/>
              <p:nvPr/>
            </p:nvGrpSpPr>
            <p:grpSpPr>
              <a:xfrm>
                <a:off x="102369" y="588209"/>
                <a:ext cx="3676679" cy="1220090"/>
                <a:chOff x="4067546" y="4123739"/>
                <a:chExt cx="3676679" cy="1220090"/>
              </a:xfrm>
            </p:grpSpPr>
            <p:sp>
              <p:nvSpPr>
                <p:cNvPr id="47" name="Rectangle 46">
                  <a:extLst>
                    <a:ext uri="{FF2B5EF4-FFF2-40B4-BE49-F238E27FC236}">
                      <a16:creationId xmlns="" xmlns:a16="http://schemas.microsoft.com/office/drawing/2014/main" id="{EF11563C-B50B-4898-91C4-31EC84967A9F}"/>
                    </a:ext>
                  </a:extLst>
                </p:cNvPr>
                <p:cNvSpPr/>
                <p:nvPr/>
              </p:nvSpPr>
              <p:spPr>
                <a:xfrm>
                  <a:off x="4447643" y="4123739"/>
                  <a:ext cx="214892" cy="1220090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="" xmlns:a16="http://schemas.microsoft.com/office/drawing/2014/main" id="{452C4001-8FA0-45CA-BB82-05AFAE70A732}"/>
                    </a:ext>
                  </a:extLst>
                </p:cNvPr>
                <p:cNvSpPr/>
                <p:nvPr/>
              </p:nvSpPr>
              <p:spPr>
                <a:xfrm>
                  <a:off x="4800373" y="4611034"/>
                  <a:ext cx="301172" cy="61147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="" xmlns:a16="http://schemas.microsoft.com/office/drawing/2014/main" id="{C25D9036-11EB-4E8E-8CDB-36FB022A9F71}"/>
                    </a:ext>
                  </a:extLst>
                </p:cNvPr>
                <p:cNvSpPr/>
                <p:nvPr/>
              </p:nvSpPr>
              <p:spPr>
                <a:xfrm>
                  <a:off x="5249722" y="4765455"/>
                  <a:ext cx="301172" cy="481052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="" xmlns:a16="http://schemas.microsoft.com/office/drawing/2014/main" id="{D1B7FF64-73BA-4E3F-9139-C9EE73F30CA1}"/>
                    </a:ext>
                  </a:extLst>
                </p:cNvPr>
                <p:cNvSpPr/>
                <p:nvPr/>
              </p:nvSpPr>
              <p:spPr>
                <a:xfrm>
                  <a:off x="6012699" y="4794858"/>
                  <a:ext cx="230206" cy="537692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="" xmlns:a16="http://schemas.microsoft.com/office/drawing/2014/main" id="{E2AFB15B-F262-4613-8414-9DDD22EA37FA}"/>
                    </a:ext>
                  </a:extLst>
                </p:cNvPr>
                <p:cNvSpPr/>
                <p:nvPr/>
              </p:nvSpPr>
              <p:spPr>
                <a:xfrm>
                  <a:off x="7412084" y="4927006"/>
                  <a:ext cx="332141" cy="375137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52" name="Freeform: Shape 191">
                  <a:extLst>
                    <a:ext uri="{FF2B5EF4-FFF2-40B4-BE49-F238E27FC236}">
                      <a16:creationId xmlns="" xmlns:a16="http://schemas.microsoft.com/office/drawing/2014/main" id="{DF94B43A-7AA9-4621-A71D-3B3174DB8EAB}"/>
                    </a:ext>
                  </a:extLst>
                </p:cNvPr>
                <p:cNvSpPr/>
                <p:nvPr/>
              </p:nvSpPr>
              <p:spPr>
                <a:xfrm>
                  <a:off x="6424578" y="4322737"/>
                  <a:ext cx="344968" cy="729909"/>
                </a:xfrm>
                <a:custGeom>
                  <a:avLst/>
                  <a:gdLst>
                    <a:gd name="connsiteX0" fmla="*/ 0 w 344968"/>
                    <a:gd name="connsiteY0" fmla="*/ 0 h 729909"/>
                    <a:gd name="connsiteX1" fmla="*/ 112879 w 344968"/>
                    <a:gd name="connsiteY1" fmla="*/ 0 h 729909"/>
                    <a:gd name="connsiteX2" fmla="*/ 112879 w 344968"/>
                    <a:gd name="connsiteY2" fmla="*/ 262206 h 729909"/>
                    <a:gd name="connsiteX3" fmla="*/ 344968 w 344968"/>
                    <a:gd name="connsiteY3" fmla="*/ 262206 h 729909"/>
                    <a:gd name="connsiteX4" fmla="*/ 344968 w 344968"/>
                    <a:gd name="connsiteY4" fmla="*/ 729909 h 729909"/>
                    <a:gd name="connsiteX5" fmla="*/ 112879 w 344968"/>
                    <a:gd name="connsiteY5" fmla="*/ 729909 h 729909"/>
                    <a:gd name="connsiteX6" fmla="*/ 104808 w 344968"/>
                    <a:gd name="connsiteY6" fmla="*/ 729909 h 729909"/>
                    <a:gd name="connsiteX7" fmla="*/ 0 w 344968"/>
                    <a:gd name="connsiteY7" fmla="*/ 729909 h 729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4968" h="729909">
                      <a:moveTo>
                        <a:pt x="0" y="0"/>
                      </a:moveTo>
                      <a:lnTo>
                        <a:pt x="112879" y="0"/>
                      </a:lnTo>
                      <a:lnTo>
                        <a:pt x="112879" y="262206"/>
                      </a:lnTo>
                      <a:lnTo>
                        <a:pt x="344968" y="262206"/>
                      </a:lnTo>
                      <a:lnTo>
                        <a:pt x="344968" y="729909"/>
                      </a:lnTo>
                      <a:lnTo>
                        <a:pt x="112879" y="729909"/>
                      </a:lnTo>
                      <a:lnTo>
                        <a:pt x="104808" y="729909"/>
                      </a:lnTo>
                      <a:lnTo>
                        <a:pt x="0" y="729909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53" name="Rectangle 52">
                  <a:extLst>
                    <a:ext uri="{FF2B5EF4-FFF2-40B4-BE49-F238E27FC236}">
                      <a16:creationId xmlns="" xmlns:a16="http://schemas.microsoft.com/office/drawing/2014/main" id="{45CBFAD5-392F-402A-B1A9-6A6F80FA99F0}"/>
                    </a:ext>
                  </a:extLst>
                </p:cNvPr>
                <p:cNvSpPr/>
                <p:nvPr/>
              </p:nvSpPr>
              <p:spPr>
                <a:xfrm>
                  <a:off x="6924401" y="4567247"/>
                  <a:ext cx="123249" cy="765302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54" name="Freeform: Shape 200">
                  <a:extLst>
                    <a:ext uri="{FF2B5EF4-FFF2-40B4-BE49-F238E27FC236}">
                      <a16:creationId xmlns="" xmlns:a16="http://schemas.microsoft.com/office/drawing/2014/main" id="{4A90C30C-3046-4B88-9226-3AA39A78BE38}"/>
                    </a:ext>
                  </a:extLst>
                </p:cNvPr>
                <p:cNvSpPr/>
                <p:nvPr/>
              </p:nvSpPr>
              <p:spPr>
                <a:xfrm flipH="1">
                  <a:off x="4067546" y="4602487"/>
                  <a:ext cx="248823" cy="526477"/>
                </a:xfrm>
                <a:custGeom>
                  <a:avLst/>
                  <a:gdLst>
                    <a:gd name="connsiteX0" fmla="*/ 0 w 344968"/>
                    <a:gd name="connsiteY0" fmla="*/ 0 h 729909"/>
                    <a:gd name="connsiteX1" fmla="*/ 112879 w 344968"/>
                    <a:gd name="connsiteY1" fmla="*/ 0 h 729909"/>
                    <a:gd name="connsiteX2" fmla="*/ 112879 w 344968"/>
                    <a:gd name="connsiteY2" fmla="*/ 262206 h 729909"/>
                    <a:gd name="connsiteX3" fmla="*/ 344968 w 344968"/>
                    <a:gd name="connsiteY3" fmla="*/ 262206 h 729909"/>
                    <a:gd name="connsiteX4" fmla="*/ 344968 w 344968"/>
                    <a:gd name="connsiteY4" fmla="*/ 729909 h 729909"/>
                    <a:gd name="connsiteX5" fmla="*/ 112879 w 344968"/>
                    <a:gd name="connsiteY5" fmla="*/ 729909 h 729909"/>
                    <a:gd name="connsiteX6" fmla="*/ 104808 w 344968"/>
                    <a:gd name="connsiteY6" fmla="*/ 729909 h 729909"/>
                    <a:gd name="connsiteX7" fmla="*/ 0 w 344968"/>
                    <a:gd name="connsiteY7" fmla="*/ 729909 h 729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4968" h="729909">
                      <a:moveTo>
                        <a:pt x="0" y="0"/>
                      </a:moveTo>
                      <a:lnTo>
                        <a:pt x="112879" y="0"/>
                      </a:lnTo>
                      <a:lnTo>
                        <a:pt x="112879" y="262206"/>
                      </a:lnTo>
                      <a:lnTo>
                        <a:pt x="344968" y="262206"/>
                      </a:lnTo>
                      <a:lnTo>
                        <a:pt x="344968" y="729909"/>
                      </a:lnTo>
                      <a:lnTo>
                        <a:pt x="112879" y="729909"/>
                      </a:lnTo>
                      <a:lnTo>
                        <a:pt x="104808" y="729909"/>
                      </a:lnTo>
                      <a:lnTo>
                        <a:pt x="0" y="729909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</p:grpSp>
          <p:grpSp>
            <p:nvGrpSpPr>
              <p:cNvPr id="23" name="Group 37">
                <a:extLst>
                  <a:ext uri="{FF2B5EF4-FFF2-40B4-BE49-F238E27FC236}">
                    <a16:creationId xmlns="" xmlns:a16="http://schemas.microsoft.com/office/drawing/2014/main" id="{E361B2A2-77F0-45BB-B2C4-D255F45A4F3B}"/>
                  </a:ext>
                </a:extLst>
              </p:cNvPr>
              <p:cNvGrpSpPr/>
              <p:nvPr/>
            </p:nvGrpSpPr>
            <p:grpSpPr>
              <a:xfrm>
                <a:off x="72370" y="560319"/>
                <a:ext cx="3724579" cy="1339211"/>
                <a:chOff x="4037547" y="4095849"/>
                <a:chExt cx="3724579" cy="1339211"/>
              </a:xfrm>
            </p:grpSpPr>
            <p:sp>
              <p:nvSpPr>
                <p:cNvPr id="39" name="Freeform: Shape 177">
                  <a:extLst>
                    <a:ext uri="{FF2B5EF4-FFF2-40B4-BE49-F238E27FC236}">
                      <a16:creationId xmlns="" xmlns:a16="http://schemas.microsoft.com/office/drawing/2014/main" id="{143B37F1-FF10-4F7D-8952-DDBBF143F707}"/>
                    </a:ext>
                  </a:extLst>
                </p:cNvPr>
                <p:cNvSpPr/>
                <p:nvPr/>
              </p:nvSpPr>
              <p:spPr>
                <a:xfrm>
                  <a:off x="4693877" y="4464737"/>
                  <a:ext cx="532405" cy="970323"/>
                </a:xfrm>
                <a:custGeom>
                  <a:avLst/>
                  <a:gdLst>
                    <a:gd name="connsiteX0" fmla="*/ 475422 w 923439"/>
                    <a:gd name="connsiteY0" fmla="*/ 855427 h 1647670"/>
                    <a:gd name="connsiteX1" fmla="*/ 475422 w 923439"/>
                    <a:gd name="connsiteY1" fmla="*/ 969146 h 1647670"/>
                    <a:gd name="connsiteX2" fmla="*/ 589141 w 923439"/>
                    <a:gd name="connsiteY2" fmla="*/ 969146 h 1647670"/>
                    <a:gd name="connsiteX3" fmla="*/ 589141 w 923439"/>
                    <a:gd name="connsiteY3" fmla="*/ 855427 h 1647670"/>
                    <a:gd name="connsiteX4" fmla="*/ 334298 w 923439"/>
                    <a:gd name="connsiteY4" fmla="*/ 855427 h 1647670"/>
                    <a:gd name="connsiteX5" fmla="*/ 334298 w 923439"/>
                    <a:gd name="connsiteY5" fmla="*/ 969146 h 1647670"/>
                    <a:gd name="connsiteX6" fmla="*/ 448017 w 923439"/>
                    <a:gd name="connsiteY6" fmla="*/ 969146 h 1647670"/>
                    <a:gd name="connsiteX7" fmla="*/ 448017 w 923439"/>
                    <a:gd name="connsiteY7" fmla="*/ 855427 h 1647670"/>
                    <a:gd name="connsiteX8" fmla="*/ 475422 w 923439"/>
                    <a:gd name="connsiteY8" fmla="*/ 709876 h 1647670"/>
                    <a:gd name="connsiteX9" fmla="*/ 475422 w 923439"/>
                    <a:gd name="connsiteY9" fmla="*/ 823595 h 1647670"/>
                    <a:gd name="connsiteX10" fmla="*/ 589141 w 923439"/>
                    <a:gd name="connsiteY10" fmla="*/ 823595 h 1647670"/>
                    <a:gd name="connsiteX11" fmla="*/ 589141 w 923439"/>
                    <a:gd name="connsiteY11" fmla="*/ 709876 h 1647670"/>
                    <a:gd name="connsiteX12" fmla="*/ 334298 w 923439"/>
                    <a:gd name="connsiteY12" fmla="*/ 709876 h 1647670"/>
                    <a:gd name="connsiteX13" fmla="*/ 334298 w 923439"/>
                    <a:gd name="connsiteY13" fmla="*/ 823595 h 1647670"/>
                    <a:gd name="connsiteX14" fmla="*/ 448017 w 923439"/>
                    <a:gd name="connsiteY14" fmla="*/ 823595 h 1647670"/>
                    <a:gd name="connsiteX15" fmla="*/ 448017 w 923439"/>
                    <a:gd name="connsiteY15" fmla="*/ 709876 h 1647670"/>
                    <a:gd name="connsiteX16" fmla="*/ 475422 w 923439"/>
                    <a:gd name="connsiteY16" fmla="*/ 500489 h 1647670"/>
                    <a:gd name="connsiteX17" fmla="*/ 475422 w 923439"/>
                    <a:gd name="connsiteY17" fmla="*/ 614208 h 1647670"/>
                    <a:gd name="connsiteX18" fmla="*/ 589141 w 923439"/>
                    <a:gd name="connsiteY18" fmla="*/ 614208 h 1647670"/>
                    <a:gd name="connsiteX19" fmla="*/ 589141 w 923439"/>
                    <a:gd name="connsiteY19" fmla="*/ 500489 h 1647670"/>
                    <a:gd name="connsiteX20" fmla="*/ 334298 w 923439"/>
                    <a:gd name="connsiteY20" fmla="*/ 500489 h 1647670"/>
                    <a:gd name="connsiteX21" fmla="*/ 334298 w 923439"/>
                    <a:gd name="connsiteY21" fmla="*/ 614208 h 1647670"/>
                    <a:gd name="connsiteX22" fmla="*/ 448017 w 923439"/>
                    <a:gd name="connsiteY22" fmla="*/ 614208 h 1647670"/>
                    <a:gd name="connsiteX23" fmla="*/ 448017 w 923439"/>
                    <a:gd name="connsiteY23" fmla="*/ 500489 h 1647670"/>
                    <a:gd name="connsiteX24" fmla="*/ 475422 w 923439"/>
                    <a:gd name="connsiteY24" fmla="*/ 354938 h 1647670"/>
                    <a:gd name="connsiteX25" fmla="*/ 475422 w 923439"/>
                    <a:gd name="connsiteY25" fmla="*/ 468657 h 1647670"/>
                    <a:gd name="connsiteX26" fmla="*/ 589141 w 923439"/>
                    <a:gd name="connsiteY26" fmla="*/ 468657 h 1647670"/>
                    <a:gd name="connsiteX27" fmla="*/ 589141 w 923439"/>
                    <a:gd name="connsiteY27" fmla="*/ 354938 h 1647670"/>
                    <a:gd name="connsiteX28" fmla="*/ 334298 w 923439"/>
                    <a:gd name="connsiteY28" fmla="*/ 354938 h 1647670"/>
                    <a:gd name="connsiteX29" fmla="*/ 334298 w 923439"/>
                    <a:gd name="connsiteY29" fmla="*/ 468657 h 1647670"/>
                    <a:gd name="connsiteX30" fmla="*/ 448017 w 923439"/>
                    <a:gd name="connsiteY30" fmla="*/ 468657 h 1647670"/>
                    <a:gd name="connsiteX31" fmla="*/ 448017 w 923439"/>
                    <a:gd name="connsiteY31" fmla="*/ 354938 h 1647670"/>
                    <a:gd name="connsiteX32" fmla="*/ 461720 w 923439"/>
                    <a:gd name="connsiteY32" fmla="*/ 0 h 1647670"/>
                    <a:gd name="connsiteX33" fmla="*/ 923439 w 923439"/>
                    <a:gd name="connsiteY33" fmla="*/ 308459 h 1647670"/>
                    <a:gd name="connsiteX34" fmla="*/ 768082 w 923439"/>
                    <a:gd name="connsiteY34" fmla="*/ 308459 h 1647670"/>
                    <a:gd name="connsiteX35" fmla="*/ 768082 w 923439"/>
                    <a:gd name="connsiteY35" fmla="*/ 1647670 h 1647670"/>
                    <a:gd name="connsiteX36" fmla="*/ 155357 w 923439"/>
                    <a:gd name="connsiteY36" fmla="*/ 1647670 h 1647670"/>
                    <a:gd name="connsiteX37" fmla="*/ 155357 w 923439"/>
                    <a:gd name="connsiteY37" fmla="*/ 308459 h 1647670"/>
                    <a:gd name="connsiteX38" fmla="*/ 0 w 923439"/>
                    <a:gd name="connsiteY38" fmla="*/ 308459 h 1647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923439" h="1647670">
                      <a:moveTo>
                        <a:pt x="475422" y="855427"/>
                      </a:moveTo>
                      <a:lnTo>
                        <a:pt x="475422" y="969146"/>
                      </a:lnTo>
                      <a:lnTo>
                        <a:pt x="589141" y="969146"/>
                      </a:lnTo>
                      <a:lnTo>
                        <a:pt x="589141" y="855427"/>
                      </a:lnTo>
                      <a:close/>
                      <a:moveTo>
                        <a:pt x="334298" y="855427"/>
                      </a:moveTo>
                      <a:lnTo>
                        <a:pt x="334298" y="969146"/>
                      </a:lnTo>
                      <a:lnTo>
                        <a:pt x="448017" y="969146"/>
                      </a:lnTo>
                      <a:lnTo>
                        <a:pt x="448017" y="855427"/>
                      </a:lnTo>
                      <a:close/>
                      <a:moveTo>
                        <a:pt x="475422" y="709876"/>
                      </a:moveTo>
                      <a:lnTo>
                        <a:pt x="475422" y="823595"/>
                      </a:lnTo>
                      <a:lnTo>
                        <a:pt x="589141" y="823595"/>
                      </a:lnTo>
                      <a:lnTo>
                        <a:pt x="589141" y="709876"/>
                      </a:lnTo>
                      <a:close/>
                      <a:moveTo>
                        <a:pt x="334298" y="709876"/>
                      </a:moveTo>
                      <a:lnTo>
                        <a:pt x="334298" y="823595"/>
                      </a:lnTo>
                      <a:lnTo>
                        <a:pt x="448017" y="823595"/>
                      </a:lnTo>
                      <a:lnTo>
                        <a:pt x="448017" y="709876"/>
                      </a:lnTo>
                      <a:close/>
                      <a:moveTo>
                        <a:pt x="475422" y="500489"/>
                      </a:moveTo>
                      <a:lnTo>
                        <a:pt x="475422" y="614208"/>
                      </a:lnTo>
                      <a:lnTo>
                        <a:pt x="589141" y="614208"/>
                      </a:lnTo>
                      <a:lnTo>
                        <a:pt x="589141" y="500489"/>
                      </a:lnTo>
                      <a:close/>
                      <a:moveTo>
                        <a:pt x="334298" y="500489"/>
                      </a:moveTo>
                      <a:lnTo>
                        <a:pt x="334298" y="614208"/>
                      </a:lnTo>
                      <a:lnTo>
                        <a:pt x="448017" y="614208"/>
                      </a:lnTo>
                      <a:lnTo>
                        <a:pt x="448017" y="500489"/>
                      </a:lnTo>
                      <a:close/>
                      <a:moveTo>
                        <a:pt x="475422" y="354938"/>
                      </a:moveTo>
                      <a:lnTo>
                        <a:pt x="475422" y="468657"/>
                      </a:lnTo>
                      <a:lnTo>
                        <a:pt x="589141" y="468657"/>
                      </a:lnTo>
                      <a:lnTo>
                        <a:pt x="589141" y="354938"/>
                      </a:lnTo>
                      <a:close/>
                      <a:moveTo>
                        <a:pt x="334298" y="354938"/>
                      </a:moveTo>
                      <a:lnTo>
                        <a:pt x="334298" y="468657"/>
                      </a:lnTo>
                      <a:lnTo>
                        <a:pt x="448017" y="468657"/>
                      </a:lnTo>
                      <a:lnTo>
                        <a:pt x="448017" y="354938"/>
                      </a:lnTo>
                      <a:close/>
                      <a:moveTo>
                        <a:pt x="461720" y="0"/>
                      </a:moveTo>
                      <a:lnTo>
                        <a:pt x="923439" y="308459"/>
                      </a:lnTo>
                      <a:lnTo>
                        <a:pt x="768082" y="308459"/>
                      </a:lnTo>
                      <a:lnTo>
                        <a:pt x="768082" y="1647670"/>
                      </a:lnTo>
                      <a:lnTo>
                        <a:pt x="155357" y="1647670"/>
                      </a:lnTo>
                      <a:lnTo>
                        <a:pt x="155357" y="308459"/>
                      </a:lnTo>
                      <a:lnTo>
                        <a:pt x="0" y="308459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40" name="Freeform: Shape 178">
                  <a:extLst>
                    <a:ext uri="{FF2B5EF4-FFF2-40B4-BE49-F238E27FC236}">
                      <a16:creationId xmlns="" xmlns:a16="http://schemas.microsoft.com/office/drawing/2014/main" id="{E4D0F66E-08E0-42C9-951B-5B7907C7E180}"/>
                    </a:ext>
                  </a:extLst>
                </p:cNvPr>
                <p:cNvSpPr/>
                <p:nvPr/>
              </p:nvSpPr>
              <p:spPr>
                <a:xfrm>
                  <a:off x="6882746" y="4407892"/>
                  <a:ext cx="202983" cy="1027168"/>
                </a:xfrm>
                <a:custGeom>
                  <a:avLst/>
                  <a:gdLst>
                    <a:gd name="connsiteX0" fmla="*/ 99275 w 306850"/>
                    <a:gd name="connsiteY0" fmla="*/ 1096373 h 1339211"/>
                    <a:gd name="connsiteX1" fmla="*/ 99275 w 306850"/>
                    <a:gd name="connsiteY1" fmla="*/ 1150665 h 1339211"/>
                    <a:gd name="connsiteX2" fmla="*/ 207575 w 306850"/>
                    <a:gd name="connsiteY2" fmla="*/ 1150665 h 1339211"/>
                    <a:gd name="connsiteX3" fmla="*/ 207575 w 306850"/>
                    <a:gd name="connsiteY3" fmla="*/ 1096373 h 1339211"/>
                    <a:gd name="connsiteX4" fmla="*/ 99275 w 306850"/>
                    <a:gd name="connsiteY4" fmla="*/ 974391 h 1339211"/>
                    <a:gd name="connsiteX5" fmla="*/ 99275 w 306850"/>
                    <a:gd name="connsiteY5" fmla="*/ 1028684 h 1339211"/>
                    <a:gd name="connsiteX6" fmla="*/ 207575 w 306850"/>
                    <a:gd name="connsiteY6" fmla="*/ 1028684 h 1339211"/>
                    <a:gd name="connsiteX7" fmla="*/ 207575 w 306850"/>
                    <a:gd name="connsiteY7" fmla="*/ 974391 h 1339211"/>
                    <a:gd name="connsiteX8" fmla="*/ 99275 w 306850"/>
                    <a:gd name="connsiteY8" fmla="*/ 852409 h 1339211"/>
                    <a:gd name="connsiteX9" fmla="*/ 99275 w 306850"/>
                    <a:gd name="connsiteY9" fmla="*/ 906702 h 1339211"/>
                    <a:gd name="connsiteX10" fmla="*/ 207575 w 306850"/>
                    <a:gd name="connsiteY10" fmla="*/ 906702 h 1339211"/>
                    <a:gd name="connsiteX11" fmla="*/ 207575 w 306850"/>
                    <a:gd name="connsiteY11" fmla="*/ 852409 h 1339211"/>
                    <a:gd name="connsiteX12" fmla="*/ 99275 w 306850"/>
                    <a:gd name="connsiteY12" fmla="*/ 730427 h 1339211"/>
                    <a:gd name="connsiteX13" fmla="*/ 99275 w 306850"/>
                    <a:gd name="connsiteY13" fmla="*/ 784720 h 1339211"/>
                    <a:gd name="connsiteX14" fmla="*/ 207575 w 306850"/>
                    <a:gd name="connsiteY14" fmla="*/ 784720 h 1339211"/>
                    <a:gd name="connsiteX15" fmla="*/ 207575 w 306850"/>
                    <a:gd name="connsiteY15" fmla="*/ 730427 h 1339211"/>
                    <a:gd name="connsiteX16" fmla="*/ 99275 w 306850"/>
                    <a:gd name="connsiteY16" fmla="*/ 608446 h 1339211"/>
                    <a:gd name="connsiteX17" fmla="*/ 99275 w 306850"/>
                    <a:gd name="connsiteY17" fmla="*/ 662738 h 1339211"/>
                    <a:gd name="connsiteX18" fmla="*/ 207575 w 306850"/>
                    <a:gd name="connsiteY18" fmla="*/ 662738 h 1339211"/>
                    <a:gd name="connsiteX19" fmla="*/ 207575 w 306850"/>
                    <a:gd name="connsiteY19" fmla="*/ 608446 h 1339211"/>
                    <a:gd name="connsiteX20" fmla="*/ 99275 w 306850"/>
                    <a:gd name="connsiteY20" fmla="*/ 486464 h 1339211"/>
                    <a:gd name="connsiteX21" fmla="*/ 99275 w 306850"/>
                    <a:gd name="connsiteY21" fmla="*/ 540756 h 1339211"/>
                    <a:gd name="connsiteX22" fmla="*/ 207575 w 306850"/>
                    <a:gd name="connsiteY22" fmla="*/ 540756 h 1339211"/>
                    <a:gd name="connsiteX23" fmla="*/ 207575 w 306850"/>
                    <a:gd name="connsiteY23" fmla="*/ 486464 h 1339211"/>
                    <a:gd name="connsiteX24" fmla="*/ 99275 w 306850"/>
                    <a:gd name="connsiteY24" fmla="*/ 364482 h 1339211"/>
                    <a:gd name="connsiteX25" fmla="*/ 99275 w 306850"/>
                    <a:gd name="connsiteY25" fmla="*/ 418774 h 1339211"/>
                    <a:gd name="connsiteX26" fmla="*/ 207575 w 306850"/>
                    <a:gd name="connsiteY26" fmla="*/ 418774 h 1339211"/>
                    <a:gd name="connsiteX27" fmla="*/ 207575 w 306850"/>
                    <a:gd name="connsiteY27" fmla="*/ 364482 h 1339211"/>
                    <a:gd name="connsiteX28" fmla="*/ 99275 w 306850"/>
                    <a:gd name="connsiteY28" fmla="*/ 242500 h 1339211"/>
                    <a:gd name="connsiteX29" fmla="*/ 99275 w 306850"/>
                    <a:gd name="connsiteY29" fmla="*/ 296792 h 1339211"/>
                    <a:gd name="connsiteX30" fmla="*/ 207575 w 306850"/>
                    <a:gd name="connsiteY30" fmla="*/ 296792 h 1339211"/>
                    <a:gd name="connsiteX31" fmla="*/ 207575 w 306850"/>
                    <a:gd name="connsiteY31" fmla="*/ 242500 h 1339211"/>
                    <a:gd name="connsiteX32" fmla="*/ 99275 w 306850"/>
                    <a:gd name="connsiteY32" fmla="*/ 120518 h 1339211"/>
                    <a:gd name="connsiteX33" fmla="*/ 99275 w 306850"/>
                    <a:gd name="connsiteY33" fmla="*/ 174811 h 1339211"/>
                    <a:gd name="connsiteX34" fmla="*/ 207575 w 306850"/>
                    <a:gd name="connsiteY34" fmla="*/ 174811 h 1339211"/>
                    <a:gd name="connsiteX35" fmla="*/ 207575 w 306850"/>
                    <a:gd name="connsiteY35" fmla="*/ 120518 h 1339211"/>
                    <a:gd name="connsiteX36" fmla="*/ 0 w 306850"/>
                    <a:gd name="connsiteY36" fmla="*/ 0 h 1339211"/>
                    <a:gd name="connsiteX37" fmla="*/ 306850 w 306850"/>
                    <a:gd name="connsiteY37" fmla="*/ 0 h 1339211"/>
                    <a:gd name="connsiteX38" fmla="*/ 306850 w 306850"/>
                    <a:gd name="connsiteY38" fmla="*/ 1339211 h 1339211"/>
                    <a:gd name="connsiteX39" fmla="*/ 0 w 306850"/>
                    <a:gd name="connsiteY39" fmla="*/ 1339211 h 1339211"/>
                    <a:gd name="connsiteX0" fmla="*/ 99275 w 306850"/>
                    <a:gd name="connsiteY0" fmla="*/ 1277348 h 1520186"/>
                    <a:gd name="connsiteX1" fmla="*/ 99275 w 306850"/>
                    <a:gd name="connsiteY1" fmla="*/ 1331640 h 1520186"/>
                    <a:gd name="connsiteX2" fmla="*/ 207575 w 306850"/>
                    <a:gd name="connsiteY2" fmla="*/ 1331640 h 1520186"/>
                    <a:gd name="connsiteX3" fmla="*/ 207575 w 306850"/>
                    <a:gd name="connsiteY3" fmla="*/ 1277348 h 1520186"/>
                    <a:gd name="connsiteX4" fmla="*/ 99275 w 306850"/>
                    <a:gd name="connsiteY4" fmla="*/ 1277348 h 1520186"/>
                    <a:gd name="connsiteX5" fmla="*/ 99275 w 306850"/>
                    <a:gd name="connsiteY5" fmla="*/ 1155366 h 1520186"/>
                    <a:gd name="connsiteX6" fmla="*/ 99275 w 306850"/>
                    <a:gd name="connsiteY6" fmla="*/ 1209659 h 1520186"/>
                    <a:gd name="connsiteX7" fmla="*/ 207575 w 306850"/>
                    <a:gd name="connsiteY7" fmla="*/ 1209659 h 1520186"/>
                    <a:gd name="connsiteX8" fmla="*/ 207575 w 306850"/>
                    <a:gd name="connsiteY8" fmla="*/ 1155366 h 1520186"/>
                    <a:gd name="connsiteX9" fmla="*/ 99275 w 306850"/>
                    <a:gd name="connsiteY9" fmla="*/ 1155366 h 1520186"/>
                    <a:gd name="connsiteX10" fmla="*/ 99275 w 306850"/>
                    <a:gd name="connsiteY10" fmla="*/ 1033384 h 1520186"/>
                    <a:gd name="connsiteX11" fmla="*/ 99275 w 306850"/>
                    <a:gd name="connsiteY11" fmla="*/ 1087677 h 1520186"/>
                    <a:gd name="connsiteX12" fmla="*/ 207575 w 306850"/>
                    <a:gd name="connsiteY12" fmla="*/ 1087677 h 1520186"/>
                    <a:gd name="connsiteX13" fmla="*/ 207575 w 306850"/>
                    <a:gd name="connsiteY13" fmla="*/ 1033384 h 1520186"/>
                    <a:gd name="connsiteX14" fmla="*/ 99275 w 306850"/>
                    <a:gd name="connsiteY14" fmla="*/ 1033384 h 1520186"/>
                    <a:gd name="connsiteX15" fmla="*/ 99275 w 306850"/>
                    <a:gd name="connsiteY15" fmla="*/ 911402 h 1520186"/>
                    <a:gd name="connsiteX16" fmla="*/ 99275 w 306850"/>
                    <a:gd name="connsiteY16" fmla="*/ 965695 h 1520186"/>
                    <a:gd name="connsiteX17" fmla="*/ 207575 w 306850"/>
                    <a:gd name="connsiteY17" fmla="*/ 965695 h 1520186"/>
                    <a:gd name="connsiteX18" fmla="*/ 207575 w 306850"/>
                    <a:gd name="connsiteY18" fmla="*/ 911402 h 1520186"/>
                    <a:gd name="connsiteX19" fmla="*/ 99275 w 306850"/>
                    <a:gd name="connsiteY19" fmla="*/ 911402 h 1520186"/>
                    <a:gd name="connsiteX20" fmla="*/ 99275 w 306850"/>
                    <a:gd name="connsiteY20" fmla="*/ 789421 h 1520186"/>
                    <a:gd name="connsiteX21" fmla="*/ 99275 w 306850"/>
                    <a:gd name="connsiteY21" fmla="*/ 843713 h 1520186"/>
                    <a:gd name="connsiteX22" fmla="*/ 207575 w 306850"/>
                    <a:gd name="connsiteY22" fmla="*/ 843713 h 1520186"/>
                    <a:gd name="connsiteX23" fmla="*/ 207575 w 306850"/>
                    <a:gd name="connsiteY23" fmla="*/ 789421 h 1520186"/>
                    <a:gd name="connsiteX24" fmla="*/ 99275 w 306850"/>
                    <a:gd name="connsiteY24" fmla="*/ 789421 h 1520186"/>
                    <a:gd name="connsiteX25" fmla="*/ 99275 w 306850"/>
                    <a:gd name="connsiteY25" fmla="*/ 667439 h 1520186"/>
                    <a:gd name="connsiteX26" fmla="*/ 99275 w 306850"/>
                    <a:gd name="connsiteY26" fmla="*/ 721731 h 1520186"/>
                    <a:gd name="connsiteX27" fmla="*/ 207575 w 306850"/>
                    <a:gd name="connsiteY27" fmla="*/ 721731 h 1520186"/>
                    <a:gd name="connsiteX28" fmla="*/ 207575 w 306850"/>
                    <a:gd name="connsiteY28" fmla="*/ 667439 h 1520186"/>
                    <a:gd name="connsiteX29" fmla="*/ 99275 w 306850"/>
                    <a:gd name="connsiteY29" fmla="*/ 667439 h 1520186"/>
                    <a:gd name="connsiteX30" fmla="*/ 99275 w 306850"/>
                    <a:gd name="connsiteY30" fmla="*/ 545457 h 1520186"/>
                    <a:gd name="connsiteX31" fmla="*/ 99275 w 306850"/>
                    <a:gd name="connsiteY31" fmla="*/ 599749 h 1520186"/>
                    <a:gd name="connsiteX32" fmla="*/ 207575 w 306850"/>
                    <a:gd name="connsiteY32" fmla="*/ 599749 h 1520186"/>
                    <a:gd name="connsiteX33" fmla="*/ 207575 w 306850"/>
                    <a:gd name="connsiteY33" fmla="*/ 545457 h 1520186"/>
                    <a:gd name="connsiteX34" fmla="*/ 99275 w 306850"/>
                    <a:gd name="connsiteY34" fmla="*/ 545457 h 1520186"/>
                    <a:gd name="connsiteX35" fmla="*/ 99275 w 306850"/>
                    <a:gd name="connsiteY35" fmla="*/ 423475 h 1520186"/>
                    <a:gd name="connsiteX36" fmla="*/ 99275 w 306850"/>
                    <a:gd name="connsiteY36" fmla="*/ 477767 h 1520186"/>
                    <a:gd name="connsiteX37" fmla="*/ 207575 w 306850"/>
                    <a:gd name="connsiteY37" fmla="*/ 477767 h 1520186"/>
                    <a:gd name="connsiteX38" fmla="*/ 207575 w 306850"/>
                    <a:gd name="connsiteY38" fmla="*/ 423475 h 1520186"/>
                    <a:gd name="connsiteX39" fmla="*/ 99275 w 306850"/>
                    <a:gd name="connsiteY39" fmla="*/ 423475 h 1520186"/>
                    <a:gd name="connsiteX40" fmla="*/ 99275 w 306850"/>
                    <a:gd name="connsiteY40" fmla="*/ 301493 h 1520186"/>
                    <a:gd name="connsiteX41" fmla="*/ 99275 w 306850"/>
                    <a:gd name="connsiteY41" fmla="*/ 355786 h 1520186"/>
                    <a:gd name="connsiteX42" fmla="*/ 207575 w 306850"/>
                    <a:gd name="connsiteY42" fmla="*/ 355786 h 1520186"/>
                    <a:gd name="connsiteX43" fmla="*/ 207575 w 306850"/>
                    <a:gd name="connsiteY43" fmla="*/ 301493 h 1520186"/>
                    <a:gd name="connsiteX44" fmla="*/ 99275 w 306850"/>
                    <a:gd name="connsiteY44" fmla="*/ 301493 h 1520186"/>
                    <a:gd name="connsiteX45" fmla="*/ 0 w 306850"/>
                    <a:gd name="connsiteY45" fmla="*/ 180975 h 1520186"/>
                    <a:gd name="connsiteX46" fmla="*/ 297325 w 306850"/>
                    <a:gd name="connsiteY46" fmla="*/ 0 h 1520186"/>
                    <a:gd name="connsiteX47" fmla="*/ 306850 w 306850"/>
                    <a:gd name="connsiteY47" fmla="*/ 1520186 h 1520186"/>
                    <a:gd name="connsiteX48" fmla="*/ 0 w 306850"/>
                    <a:gd name="connsiteY48" fmla="*/ 1520186 h 1520186"/>
                    <a:gd name="connsiteX49" fmla="*/ 0 w 306850"/>
                    <a:gd name="connsiteY49" fmla="*/ 180975 h 1520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306850" h="1520186">
                      <a:moveTo>
                        <a:pt x="99275" y="1277348"/>
                      </a:moveTo>
                      <a:lnTo>
                        <a:pt x="99275" y="1331640"/>
                      </a:lnTo>
                      <a:lnTo>
                        <a:pt x="207575" y="1331640"/>
                      </a:lnTo>
                      <a:lnTo>
                        <a:pt x="207575" y="1277348"/>
                      </a:lnTo>
                      <a:lnTo>
                        <a:pt x="99275" y="1277348"/>
                      </a:lnTo>
                      <a:close/>
                      <a:moveTo>
                        <a:pt x="99275" y="1155366"/>
                      </a:moveTo>
                      <a:lnTo>
                        <a:pt x="99275" y="1209659"/>
                      </a:lnTo>
                      <a:lnTo>
                        <a:pt x="207575" y="1209659"/>
                      </a:lnTo>
                      <a:lnTo>
                        <a:pt x="207575" y="1155366"/>
                      </a:lnTo>
                      <a:lnTo>
                        <a:pt x="99275" y="1155366"/>
                      </a:lnTo>
                      <a:close/>
                      <a:moveTo>
                        <a:pt x="99275" y="1033384"/>
                      </a:moveTo>
                      <a:lnTo>
                        <a:pt x="99275" y="1087677"/>
                      </a:lnTo>
                      <a:lnTo>
                        <a:pt x="207575" y="1087677"/>
                      </a:lnTo>
                      <a:lnTo>
                        <a:pt x="207575" y="1033384"/>
                      </a:lnTo>
                      <a:lnTo>
                        <a:pt x="99275" y="1033384"/>
                      </a:lnTo>
                      <a:close/>
                      <a:moveTo>
                        <a:pt x="99275" y="911402"/>
                      </a:moveTo>
                      <a:lnTo>
                        <a:pt x="99275" y="965695"/>
                      </a:lnTo>
                      <a:lnTo>
                        <a:pt x="207575" y="965695"/>
                      </a:lnTo>
                      <a:lnTo>
                        <a:pt x="207575" y="911402"/>
                      </a:lnTo>
                      <a:lnTo>
                        <a:pt x="99275" y="911402"/>
                      </a:lnTo>
                      <a:close/>
                      <a:moveTo>
                        <a:pt x="99275" y="789421"/>
                      </a:moveTo>
                      <a:lnTo>
                        <a:pt x="99275" y="843713"/>
                      </a:lnTo>
                      <a:lnTo>
                        <a:pt x="207575" y="843713"/>
                      </a:lnTo>
                      <a:lnTo>
                        <a:pt x="207575" y="789421"/>
                      </a:lnTo>
                      <a:lnTo>
                        <a:pt x="99275" y="789421"/>
                      </a:lnTo>
                      <a:close/>
                      <a:moveTo>
                        <a:pt x="99275" y="667439"/>
                      </a:moveTo>
                      <a:lnTo>
                        <a:pt x="99275" y="721731"/>
                      </a:lnTo>
                      <a:lnTo>
                        <a:pt x="207575" y="721731"/>
                      </a:lnTo>
                      <a:lnTo>
                        <a:pt x="207575" y="667439"/>
                      </a:lnTo>
                      <a:lnTo>
                        <a:pt x="99275" y="667439"/>
                      </a:lnTo>
                      <a:close/>
                      <a:moveTo>
                        <a:pt x="99275" y="545457"/>
                      </a:moveTo>
                      <a:lnTo>
                        <a:pt x="99275" y="599749"/>
                      </a:lnTo>
                      <a:lnTo>
                        <a:pt x="207575" y="599749"/>
                      </a:lnTo>
                      <a:lnTo>
                        <a:pt x="207575" y="545457"/>
                      </a:lnTo>
                      <a:lnTo>
                        <a:pt x="99275" y="545457"/>
                      </a:lnTo>
                      <a:close/>
                      <a:moveTo>
                        <a:pt x="99275" y="423475"/>
                      </a:moveTo>
                      <a:lnTo>
                        <a:pt x="99275" y="477767"/>
                      </a:lnTo>
                      <a:lnTo>
                        <a:pt x="207575" y="477767"/>
                      </a:lnTo>
                      <a:lnTo>
                        <a:pt x="207575" y="423475"/>
                      </a:lnTo>
                      <a:lnTo>
                        <a:pt x="99275" y="423475"/>
                      </a:lnTo>
                      <a:close/>
                      <a:moveTo>
                        <a:pt x="99275" y="301493"/>
                      </a:moveTo>
                      <a:lnTo>
                        <a:pt x="99275" y="355786"/>
                      </a:lnTo>
                      <a:lnTo>
                        <a:pt x="207575" y="355786"/>
                      </a:lnTo>
                      <a:lnTo>
                        <a:pt x="207575" y="301493"/>
                      </a:lnTo>
                      <a:lnTo>
                        <a:pt x="99275" y="301493"/>
                      </a:lnTo>
                      <a:close/>
                      <a:moveTo>
                        <a:pt x="0" y="180975"/>
                      </a:moveTo>
                      <a:lnTo>
                        <a:pt x="297325" y="0"/>
                      </a:lnTo>
                      <a:lnTo>
                        <a:pt x="306850" y="1520186"/>
                      </a:lnTo>
                      <a:lnTo>
                        <a:pt x="0" y="1520186"/>
                      </a:lnTo>
                      <a:lnTo>
                        <a:pt x="0" y="180975"/>
                      </a:lnTo>
                      <a:close/>
                    </a:path>
                  </a:pathLst>
                </a:custGeom>
                <a:solidFill>
                  <a:srgbClr val="FEB856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defRPr/>
                  </a:pPr>
                  <a:endParaRPr lang="ko-KR" altLang="en-US" sz="20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41" name="Freeform: Shape 179">
                  <a:extLst>
                    <a:ext uri="{FF2B5EF4-FFF2-40B4-BE49-F238E27FC236}">
                      <a16:creationId xmlns="" xmlns:a16="http://schemas.microsoft.com/office/drawing/2014/main" id="{0A580BDB-6743-4031-B1BB-2725B90CF86D}"/>
                    </a:ext>
                  </a:extLst>
                </p:cNvPr>
                <p:cNvSpPr/>
                <p:nvPr/>
              </p:nvSpPr>
              <p:spPr>
                <a:xfrm>
                  <a:off x="4410083" y="4095849"/>
                  <a:ext cx="300410" cy="1339211"/>
                </a:xfrm>
                <a:custGeom>
                  <a:avLst/>
                  <a:gdLst>
                    <a:gd name="connsiteX0" fmla="*/ 99275 w 306850"/>
                    <a:gd name="connsiteY0" fmla="*/ 1096373 h 1339211"/>
                    <a:gd name="connsiteX1" fmla="*/ 99275 w 306850"/>
                    <a:gd name="connsiteY1" fmla="*/ 1150665 h 1339211"/>
                    <a:gd name="connsiteX2" fmla="*/ 207575 w 306850"/>
                    <a:gd name="connsiteY2" fmla="*/ 1150665 h 1339211"/>
                    <a:gd name="connsiteX3" fmla="*/ 207575 w 306850"/>
                    <a:gd name="connsiteY3" fmla="*/ 1096373 h 1339211"/>
                    <a:gd name="connsiteX4" fmla="*/ 99275 w 306850"/>
                    <a:gd name="connsiteY4" fmla="*/ 974391 h 1339211"/>
                    <a:gd name="connsiteX5" fmla="*/ 99275 w 306850"/>
                    <a:gd name="connsiteY5" fmla="*/ 1028684 h 1339211"/>
                    <a:gd name="connsiteX6" fmla="*/ 207575 w 306850"/>
                    <a:gd name="connsiteY6" fmla="*/ 1028684 h 1339211"/>
                    <a:gd name="connsiteX7" fmla="*/ 207575 w 306850"/>
                    <a:gd name="connsiteY7" fmla="*/ 974391 h 1339211"/>
                    <a:gd name="connsiteX8" fmla="*/ 99275 w 306850"/>
                    <a:gd name="connsiteY8" fmla="*/ 852409 h 1339211"/>
                    <a:gd name="connsiteX9" fmla="*/ 99275 w 306850"/>
                    <a:gd name="connsiteY9" fmla="*/ 906702 h 1339211"/>
                    <a:gd name="connsiteX10" fmla="*/ 207575 w 306850"/>
                    <a:gd name="connsiteY10" fmla="*/ 906702 h 1339211"/>
                    <a:gd name="connsiteX11" fmla="*/ 207575 w 306850"/>
                    <a:gd name="connsiteY11" fmla="*/ 852409 h 1339211"/>
                    <a:gd name="connsiteX12" fmla="*/ 99275 w 306850"/>
                    <a:gd name="connsiteY12" fmla="*/ 730427 h 1339211"/>
                    <a:gd name="connsiteX13" fmla="*/ 99275 w 306850"/>
                    <a:gd name="connsiteY13" fmla="*/ 784720 h 1339211"/>
                    <a:gd name="connsiteX14" fmla="*/ 207575 w 306850"/>
                    <a:gd name="connsiteY14" fmla="*/ 784720 h 1339211"/>
                    <a:gd name="connsiteX15" fmla="*/ 207575 w 306850"/>
                    <a:gd name="connsiteY15" fmla="*/ 730427 h 1339211"/>
                    <a:gd name="connsiteX16" fmla="*/ 99275 w 306850"/>
                    <a:gd name="connsiteY16" fmla="*/ 608446 h 1339211"/>
                    <a:gd name="connsiteX17" fmla="*/ 99275 w 306850"/>
                    <a:gd name="connsiteY17" fmla="*/ 662738 h 1339211"/>
                    <a:gd name="connsiteX18" fmla="*/ 207575 w 306850"/>
                    <a:gd name="connsiteY18" fmla="*/ 662738 h 1339211"/>
                    <a:gd name="connsiteX19" fmla="*/ 207575 w 306850"/>
                    <a:gd name="connsiteY19" fmla="*/ 608446 h 1339211"/>
                    <a:gd name="connsiteX20" fmla="*/ 99275 w 306850"/>
                    <a:gd name="connsiteY20" fmla="*/ 486464 h 1339211"/>
                    <a:gd name="connsiteX21" fmla="*/ 99275 w 306850"/>
                    <a:gd name="connsiteY21" fmla="*/ 540756 h 1339211"/>
                    <a:gd name="connsiteX22" fmla="*/ 207575 w 306850"/>
                    <a:gd name="connsiteY22" fmla="*/ 540756 h 1339211"/>
                    <a:gd name="connsiteX23" fmla="*/ 207575 w 306850"/>
                    <a:gd name="connsiteY23" fmla="*/ 486464 h 1339211"/>
                    <a:gd name="connsiteX24" fmla="*/ 99275 w 306850"/>
                    <a:gd name="connsiteY24" fmla="*/ 364482 h 1339211"/>
                    <a:gd name="connsiteX25" fmla="*/ 99275 w 306850"/>
                    <a:gd name="connsiteY25" fmla="*/ 418774 h 1339211"/>
                    <a:gd name="connsiteX26" fmla="*/ 207575 w 306850"/>
                    <a:gd name="connsiteY26" fmla="*/ 418774 h 1339211"/>
                    <a:gd name="connsiteX27" fmla="*/ 207575 w 306850"/>
                    <a:gd name="connsiteY27" fmla="*/ 364482 h 1339211"/>
                    <a:gd name="connsiteX28" fmla="*/ 99275 w 306850"/>
                    <a:gd name="connsiteY28" fmla="*/ 242500 h 1339211"/>
                    <a:gd name="connsiteX29" fmla="*/ 99275 w 306850"/>
                    <a:gd name="connsiteY29" fmla="*/ 296792 h 1339211"/>
                    <a:gd name="connsiteX30" fmla="*/ 207575 w 306850"/>
                    <a:gd name="connsiteY30" fmla="*/ 296792 h 1339211"/>
                    <a:gd name="connsiteX31" fmla="*/ 207575 w 306850"/>
                    <a:gd name="connsiteY31" fmla="*/ 242500 h 1339211"/>
                    <a:gd name="connsiteX32" fmla="*/ 99275 w 306850"/>
                    <a:gd name="connsiteY32" fmla="*/ 120518 h 1339211"/>
                    <a:gd name="connsiteX33" fmla="*/ 99275 w 306850"/>
                    <a:gd name="connsiteY33" fmla="*/ 174811 h 1339211"/>
                    <a:gd name="connsiteX34" fmla="*/ 207575 w 306850"/>
                    <a:gd name="connsiteY34" fmla="*/ 174811 h 1339211"/>
                    <a:gd name="connsiteX35" fmla="*/ 207575 w 306850"/>
                    <a:gd name="connsiteY35" fmla="*/ 120518 h 1339211"/>
                    <a:gd name="connsiteX36" fmla="*/ 0 w 306850"/>
                    <a:gd name="connsiteY36" fmla="*/ 0 h 1339211"/>
                    <a:gd name="connsiteX37" fmla="*/ 306850 w 306850"/>
                    <a:gd name="connsiteY37" fmla="*/ 0 h 1339211"/>
                    <a:gd name="connsiteX38" fmla="*/ 306850 w 306850"/>
                    <a:gd name="connsiteY38" fmla="*/ 1339211 h 1339211"/>
                    <a:gd name="connsiteX39" fmla="*/ 0 w 306850"/>
                    <a:gd name="connsiteY39" fmla="*/ 1339211 h 1339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306850" h="1339211">
                      <a:moveTo>
                        <a:pt x="99275" y="1096373"/>
                      </a:moveTo>
                      <a:lnTo>
                        <a:pt x="99275" y="1150665"/>
                      </a:lnTo>
                      <a:lnTo>
                        <a:pt x="207575" y="1150665"/>
                      </a:lnTo>
                      <a:lnTo>
                        <a:pt x="207575" y="1096373"/>
                      </a:lnTo>
                      <a:close/>
                      <a:moveTo>
                        <a:pt x="99275" y="974391"/>
                      </a:moveTo>
                      <a:lnTo>
                        <a:pt x="99275" y="1028684"/>
                      </a:lnTo>
                      <a:lnTo>
                        <a:pt x="207575" y="1028684"/>
                      </a:lnTo>
                      <a:lnTo>
                        <a:pt x="207575" y="974391"/>
                      </a:lnTo>
                      <a:close/>
                      <a:moveTo>
                        <a:pt x="99275" y="852409"/>
                      </a:moveTo>
                      <a:lnTo>
                        <a:pt x="99275" y="906702"/>
                      </a:lnTo>
                      <a:lnTo>
                        <a:pt x="207575" y="906702"/>
                      </a:lnTo>
                      <a:lnTo>
                        <a:pt x="207575" y="852409"/>
                      </a:lnTo>
                      <a:close/>
                      <a:moveTo>
                        <a:pt x="99275" y="730427"/>
                      </a:moveTo>
                      <a:lnTo>
                        <a:pt x="99275" y="784720"/>
                      </a:lnTo>
                      <a:lnTo>
                        <a:pt x="207575" y="784720"/>
                      </a:lnTo>
                      <a:lnTo>
                        <a:pt x="207575" y="730427"/>
                      </a:lnTo>
                      <a:close/>
                      <a:moveTo>
                        <a:pt x="99275" y="608446"/>
                      </a:moveTo>
                      <a:lnTo>
                        <a:pt x="99275" y="662738"/>
                      </a:lnTo>
                      <a:lnTo>
                        <a:pt x="207575" y="662738"/>
                      </a:lnTo>
                      <a:lnTo>
                        <a:pt x="207575" y="608446"/>
                      </a:lnTo>
                      <a:close/>
                      <a:moveTo>
                        <a:pt x="99275" y="486464"/>
                      </a:moveTo>
                      <a:lnTo>
                        <a:pt x="99275" y="540756"/>
                      </a:lnTo>
                      <a:lnTo>
                        <a:pt x="207575" y="540756"/>
                      </a:lnTo>
                      <a:lnTo>
                        <a:pt x="207575" y="486464"/>
                      </a:lnTo>
                      <a:close/>
                      <a:moveTo>
                        <a:pt x="99275" y="364482"/>
                      </a:moveTo>
                      <a:lnTo>
                        <a:pt x="99275" y="418774"/>
                      </a:lnTo>
                      <a:lnTo>
                        <a:pt x="207575" y="418774"/>
                      </a:lnTo>
                      <a:lnTo>
                        <a:pt x="207575" y="364482"/>
                      </a:lnTo>
                      <a:close/>
                      <a:moveTo>
                        <a:pt x="99275" y="242500"/>
                      </a:moveTo>
                      <a:lnTo>
                        <a:pt x="99275" y="296792"/>
                      </a:lnTo>
                      <a:lnTo>
                        <a:pt x="207575" y="296792"/>
                      </a:lnTo>
                      <a:lnTo>
                        <a:pt x="207575" y="242500"/>
                      </a:lnTo>
                      <a:close/>
                      <a:moveTo>
                        <a:pt x="99275" y="120518"/>
                      </a:moveTo>
                      <a:lnTo>
                        <a:pt x="99275" y="174811"/>
                      </a:lnTo>
                      <a:lnTo>
                        <a:pt x="207575" y="174811"/>
                      </a:lnTo>
                      <a:lnTo>
                        <a:pt x="207575" y="120518"/>
                      </a:lnTo>
                      <a:close/>
                      <a:moveTo>
                        <a:pt x="0" y="0"/>
                      </a:moveTo>
                      <a:lnTo>
                        <a:pt x="306850" y="0"/>
                      </a:lnTo>
                      <a:lnTo>
                        <a:pt x="306850" y="1339211"/>
                      </a:lnTo>
                      <a:lnTo>
                        <a:pt x="0" y="1339211"/>
                      </a:lnTo>
                      <a:close/>
                    </a:path>
                  </a:pathLst>
                </a:custGeom>
                <a:solidFill>
                  <a:srgbClr val="FEB856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800">
                    <a:defRPr/>
                  </a:pPr>
                  <a:endParaRPr lang="ko-KR" altLang="en-US" sz="20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42" name="Freeform: Shape 180">
                  <a:extLst>
                    <a:ext uri="{FF2B5EF4-FFF2-40B4-BE49-F238E27FC236}">
                      <a16:creationId xmlns="" xmlns:a16="http://schemas.microsoft.com/office/drawing/2014/main" id="{157AB6AF-1C4C-4F5F-948B-3459F76D50E1}"/>
                    </a:ext>
                  </a:extLst>
                </p:cNvPr>
                <p:cNvSpPr/>
                <p:nvPr/>
              </p:nvSpPr>
              <p:spPr>
                <a:xfrm>
                  <a:off x="5216540" y="4730927"/>
                  <a:ext cx="623978" cy="704133"/>
                </a:xfrm>
                <a:custGeom>
                  <a:avLst/>
                  <a:gdLst>
                    <a:gd name="connsiteX0" fmla="*/ 220666 w 637355"/>
                    <a:gd name="connsiteY0" fmla="*/ 230805 h 704133"/>
                    <a:gd name="connsiteX1" fmla="*/ 220666 w 637355"/>
                    <a:gd name="connsiteY1" fmla="*/ 344524 h 704133"/>
                    <a:gd name="connsiteX2" fmla="*/ 334385 w 637355"/>
                    <a:gd name="connsiteY2" fmla="*/ 344524 h 704133"/>
                    <a:gd name="connsiteX3" fmla="*/ 334385 w 637355"/>
                    <a:gd name="connsiteY3" fmla="*/ 230805 h 704133"/>
                    <a:gd name="connsiteX4" fmla="*/ 79542 w 637355"/>
                    <a:gd name="connsiteY4" fmla="*/ 230805 h 704133"/>
                    <a:gd name="connsiteX5" fmla="*/ 79542 w 637355"/>
                    <a:gd name="connsiteY5" fmla="*/ 344524 h 704133"/>
                    <a:gd name="connsiteX6" fmla="*/ 193261 w 637355"/>
                    <a:gd name="connsiteY6" fmla="*/ 344524 h 704133"/>
                    <a:gd name="connsiteX7" fmla="*/ 193261 w 637355"/>
                    <a:gd name="connsiteY7" fmla="*/ 230805 h 704133"/>
                    <a:gd name="connsiteX8" fmla="*/ 220666 w 637355"/>
                    <a:gd name="connsiteY8" fmla="*/ 85254 h 704133"/>
                    <a:gd name="connsiteX9" fmla="*/ 220666 w 637355"/>
                    <a:gd name="connsiteY9" fmla="*/ 198973 h 704133"/>
                    <a:gd name="connsiteX10" fmla="*/ 334385 w 637355"/>
                    <a:gd name="connsiteY10" fmla="*/ 198973 h 704133"/>
                    <a:gd name="connsiteX11" fmla="*/ 334385 w 637355"/>
                    <a:gd name="connsiteY11" fmla="*/ 85254 h 704133"/>
                    <a:gd name="connsiteX12" fmla="*/ 79542 w 637355"/>
                    <a:gd name="connsiteY12" fmla="*/ 85254 h 704133"/>
                    <a:gd name="connsiteX13" fmla="*/ 79542 w 637355"/>
                    <a:gd name="connsiteY13" fmla="*/ 198973 h 704133"/>
                    <a:gd name="connsiteX14" fmla="*/ 193261 w 637355"/>
                    <a:gd name="connsiteY14" fmla="*/ 198973 h 704133"/>
                    <a:gd name="connsiteX15" fmla="*/ 193261 w 637355"/>
                    <a:gd name="connsiteY15" fmla="*/ 85254 h 704133"/>
                    <a:gd name="connsiteX16" fmla="*/ 0 w 637355"/>
                    <a:gd name="connsiteY16" fmla="*/ 0 h 704133"/>
                    <a:gd name="connsiteX17" fmla="*/ 637355 w 637355"/>
                    <a:gd name="connsiteY17" fmla="*/ 0 h 704133"/>
                    <a:gd name="connsiteX18" fmla="*/ 637355 w 637355"/>
                    <a:gd name="connsiteY18" fmla="*/ 704133 h 704133"/>
                    <a:gd name="connsiteX19" fmla="*/ 0 w 637355"/>
                    <a:gd name="connsiteY19" fmla="*/ 704133 h 704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637355" h="704133">
                      <a:moveTo>
                        <a:pt x="220666" y="230805"/>
                      </a:moveTo>
                      <a:lnTo>
                        <a:pt x="220666" y="344524"/>
                      </a:lnTo>
                      <a:lnTo>
                        <a:pt x="334385" y="344524"/>
                      </a:lnTo>
                      <a:lnTo>
                        <a:pt x="334385" y="230805"/>
                      </a:lnTo>
                      <a:close/>
                      <a:moveTo>
                        <a:pt x="79542" y="230805"/>
                      </a:moveTo>
                      <a:lnTo>
                        <a:pt x="79542" y="344524"/>
                      </a:lnTo>
                      <a:lnTo>
                        <a:pt x="193261" y="344524"/>
                      </a:lnTo>
                      <a:lnTo>
                        <a:pt x="193261" y="230805"/>
                      </a:lnTo>
                      <a:close/>
                      <a:moveTo>
                        <a:pt x="220666" y="85254"/>
                      </a:moveTo>
                      <a:lnTo>
                        <a:pt x="220666" y="198973"/>
                      </a:lnTo>
                      <a:lnTo>
                        <a:pt x="334385" y="198973"/>
                      </a:lnTo>
                      <a:lnTo>
                        <a:pt x="334385" y="85254"/>
                      </a:lnTo>
                      <a:close/>
                      <a:moveTo>
                        <a:pt x="79542" y="85254"/>
                      </a:moveTo>
                      <a:lnTo>
                        <a:pt x="79542" y="198973"/>
                      </a:lnTo>
                      <a:lnTo>
                        <a:pt x="193261" y="198973"/>
                      </a:lnTo>
                      <a:lnTo>
                        <a:pt x="193261" y="85254"/>
                      </a:lnTo>
                      <a:close/>
                      <a:moveTo>
                        <a:pt x="0" y="0"/>
                      </a:moveTo>
                      <a:lnTo>
                        <a:pt x="637355" y="0"/>
                      </a:lnTo>
                      <a:lnTo>
                        <a:pt x="637355" y="704133"/>
                      </a:lnTo>
                      <a:lnTo>
                        <a:pt x="0" y="704133"/>
                      </a:lnTo>
                      <a:close/>
                    </a:path>
                  </a:pathLst>
                </a:custGeom>
                <a:solidFill>
                  <a:srgbClr val="FEB856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43" name="Freeform: Shape 181">
                  <a:extLst>
                    <a:ext uri="{FF2B5EF4-FFF2-40B4-BE49-F238E27FC236}">
                      <a16:creationId xmlns="" xmlns:a16="http://schemas.microsoft.com/office/drawing/2014/main" id="{F10B3E95-9AF5-4AC0-B014-6A4E6F62F0EE}"/>
                    </a:ext>
                  </a:extLst>
                </p:cNvPr>
                <p:cNvSpPr/>
                <p:nvPr/>
              </p:nvSpPr>
              <p:spPr>
                <a:xfrm>
                  <a:off x="5819397" y="4564529"/>
                  <a:ext cx="602196" cy="870531"/>
                </a:xfrm>
                <a:custGeom>
                  <a:avLst/>
                  <a:gdLst>
                    <a:gd name="connsiteX0" fmla="*/ 238494 w 462454"/>
                    <a:gd name="connsiteY0" fmla="*/ 563076 h 870531"/>
                    <a:gd name="connsiteX1" fmla="*/ 238494 w 462454"/>
                    <a:gd name="connsiteY1" fmla="*/ 715154 h 870531"/>
                    <a:gd name="connsiteX2" fmla="*/ 324676 w 462454"/>
                    <a:gd name="connsiteY2" fmla="*/ 715154 h 870531"/>
                    <a:gd name="connsiteX3" fmla="*/ 324676 w 462454"/>
                    <a:gd name="connsiteY3" fmla="*/ 563076 h 870531"/>
                    <a:gd name="connsiteX4" fmla="*/ 238494 w 462454"/>
                    <a:gd name="connsiteY4" fmla="*/ 353251 h 870531"/>
                    <a:gd name="connsiteX5" fmla="*/ 238494 w 462454"/>
                    <a:gd name="connsiteY5" fmla="*/ 505329 h 870531"/>
                    <a:gd name="connsiteX6" fmla="*/ 324676 w 462454"/>
                    <a:gd name="connsiteY6" fmla="*/ 505329 h 870531"/>
                    <a:gd name="connsiteX7" fmla="*/ 324676 w 462454"/>
                    <a:gd name="connsiteY7" fmla="*/ 353251 h 870531"/>
                    <a:gd name="connsiteX8" fmla="*/ 231227 w 462454"/>
                    <a:gd name="connsiteY8" fmla="*/ 0 h 870531"/>
                    <a:gd name="connsiteX9" fmla="*/ 462454 w 462454"/>
                    <a:gd name="connsiteY9" fmla="*/ 308459 h 870531"/>
                    <a:gd name="connsiteX10" fmla="*/ 384652 w 462454"/>
                    <a:gd name="connsiteY10" fmla="*/ 308459 h 870531"/>
                    <a:gd name="connsiteX11" fmla="*/ 384652 w 462454"/>
                    <a:gd name="connsiteY11" fmla="*/ 870531 h 870531"/>
                    <a:gd name="connsiteX12" fmla="*/ 77802 w 462454"/>
                    <a:gd name="connsiteY12" fmla="*/ 870531 h 870531"/>
                    <a:gd name="connsiteX13" fmla="*/ 77802 w 462454"/>
                    <a:gd name="connsiteY13" fmla="*/ 308459 h 870531"/>
                    <a:gd name="connsiteX14" fmla="*/ 0 w 462454"/>
                    <a:gd name="connsiteY14" fmla="*/ 308459 h 870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62454" h="870531">
                      <a:moveTo>
                        <a:pt x="238494" y="563076"/>
                      </a:moveTo>
                      <a:lnTo>
                        <a:pt x="238494" y="715154"/>
                      </a:lnTo>
                      <a:lnTo>
                        <a:pt x="324676" y="715154"/>
                      </a:lnTo>
                      <a:lnTo>
                        <a:pt x="324676" y="563076"/>
                      </a:lnTo>
                      <a:close/>
                      <a:moveTo>
                        <a:pt x="238494" y="353251"/>
                      </a:moveTo>
                      <a:lnTo>
                        <a:pt x="238494" y="505329"/>
                      </a:lnTo>
                      <a:lnTo>
                        <a:pt x="324676" y="505329"/>
                      </a:lnTo>
                      <a:lnTo>
                        <a:pt x="324676" y="353251"/>
                      </a:lnTo>
                      <a:close/>
                      <a:moveTo>
                        <a:pt x="231227" y="0"/>
                      </a:moveTo>
                      <a:lnTo>
                        <a:pt x="462454" y="308459"/>
                      </a:lnTo>
                      <a:lnTo>
                        <a:pt x="384652" y="308459"/>
                      </a:lnTo>
                      <a:lnTo>
                        <a:pt x="384652" y="870531"/>
                      </a:lnTo>
                      <a:lnTo>
                        <a:pt x="77802" y="870531"/>
                      </a:lnTo>
                      <a:lnTo>
                        <a:pt x="77802" y="308459"/>
                      </a:lnTo>
                      <a:lnTo>
                        <a:pt x="0" y="308459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44" name="Freeform: Shape 182">
                  <a:extLst>
                    <a:ext uri="{FF2B5EF4-FFF2-40B4-BE49-F238E27FC236}">
                      <a16:creationId xmlns="" xmlns:a16="http://schemas.microsoft.com/office/drawing/2014/main" id="{8B66632A-A3D6-405A-9B03-DD8D0E42102D}"/>
                    </a:ext>
                  </a:extLst>
                </p:cNvPr>
                <p:cNvSpPr/>
                <p:nvPr/>
              </p:nvSpPr>
              <p:spPr>
                <a:xfrm>
                  <a:off x="7174463" y="4795378"/>
                  <a:ext cx="587663" cy="639087"/>
                </a:xfrm>
                <a:custGeom>
                  <a:avLst/>
                  <a:gdLst>
                    <a:gd name="connsiteX0" fmla="*/ 426331 w 600261"/>
                    <a:gd name="connsiteY0" fmla="*/ 337859 h 639087"/>
                    <a:gd name="connsiteX1" fmla="*/ 426331 w 600261"/>
                    <a:gd name="connsiteY1" fmla="*/ 451578 h 639087"/>
                    <a:gd name="connsiteX2" fmla="*/ 540050 w 600261"/>
                    <a:gd name="connsiteY2" fmla="*/ 451578 h 639087"/>
                    <a:gd name="connsiteX3" fmla="*/ 540050 w 600261"/>
                    <a:gd name="connsiteY3" fmla="*/ 337859 h 639087"/>
                    <a:gd name="connsiteX4" fmla="*/ 285207 w 600261"/>
                    <a:gd name="connsiteY4" fmla="*/ 337859 h 639087"/>
                    <a:gd name="connsiteX5" fmla="*/ 285207 w 600261"/>
                    <a:gd name="connsiteY5" fmla="*/ 451578 h 639087"/>
                    <a:gd name="connsiteX6" fmla="*/ 398926 w 600261"/>
                    <a:gd name="connsiteY6" fmla="*/ 451578 h 639087"/>
                    <a:gd name="connsiteX7" fmla="*/ 398926 w 600261"/>
                    <a:gd name="connsiteY7" fmla="*/ 337859 h 639087"/>
                    <a:gd name="connsiteX8" fmla="*/ 426331 w 600261"/>
                    <a:gd name="connsiteY8" fmla="*/ 192308 h 639087"/>
                    <a:gd name="connsiteX9" fmla="*/ 426331 w 600261"/>
                    <a:gd name="connsiteY9" fmla="*/ 306027 h 639087"/>
                    <a:gd name="connsiteX10" fmla="*/ 540050 w 600261"/>
                    <a:gd name="connsiteY10" fmla="*/ 306027 h 639087"/>
                    <a:gd name="connsiteX11" fmla="*/ 540050 w 600261"/>
                    <a:gd name="connsiteY11" fmla="*/ 192308 h 639087"/>
                    <a:gd name="connsiteX12" fmla="*/ 285207 w 600261"/>
                    <a:gd name="connsiteY12" fmla="*/ 192308 h 639087"/>
                    <a:gd name="connsiteX13" fmla="*/ 285207 w 600261"/>
                    <a:gd name="connsiteY13" fmla="*/ 306027 h 639087"/>
                    <a:gd name="connsiteX14" fmla="*/ 398926 w 600261"/>
                    <a:gd name="connsiteY14" fmla="*/ 306027 h 639087"/>
                    <a:gd name="connsiteX15" fmla="*/ 398926 w 600261"/>
                    <a:gd name="connsiteY15" fmla="*/ 192308 h 639087"/>
                    <a:gd name="connsiteX16" fmla="*/ 0 w 600261"/>
                    <a:gd name="connsiteY16" fmla="*/ 0 h 639087"/>
                    <a:gd name="connsiteX17" fmla="*/ 306850 w 600261"/>
                    <a:gd name="connsiteY17" fmla="*/ 0 h 639087"/>
                    <a:gd name="connsiteX18" fmla="*/ 306850 w 600261"/>
                    <a:gd name="connsiteY18" fmla="*/ 115748 h 639087"/>
                    <a:gd name="connsiteX19" fmla="*/ 600261 w 600261"/>
                    <a:gd name="connsiteY19" fmla="*/ 115748 h 639087"/>
                    <a:gd name="connsiteX20" fmla="*/ 600261 w 600261"/>
                    <a:gd name="connsiteY20" fmla="*/ 639087 h 639087"/>
                    <a:gd name="connsiteX21" fmla="*/ 0 w 600261"/>
                    <a:gd name="connsiteY21" fmla="*/ 639087 h 639087"/>
                    <a:gd name="connsiteX22" fmla="*/ 0 w 600261"/>
                    <a:gd name="connsiteY22" fmla="*/ 523339 h 639087"/>
                    <a:gd name="connsiteX23" fmla="*/ 0 w 600261"/>
                    <a:gd name="connsiteY23" fmla="*/ 115748 h 639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600261" h="639087">
                      <a:moveTo>
                        <a:pt x="426331" y="337859"/>
                      </a:moveTo>
                      <a:lnTo>
                        <a:pt x="426331" y="451578"/>
                      </a:lnTo>
                      <a:lnTo>
                        <a:pt x="540050" y="451578"/>
                      </a:lnTo>
                      <a:lnTo>
                        <a:pt x="540050" y="337859"/>
                      </a:lnTo>
                      <a:close/>
                      <a:moveTo>
                        <a:pt x="285207" y="337859"/>
                      </a:moveTo>
                      <a:lnTo>
                        <a:pt x="285207" y="451578"/>
                      </a:lnTo>
                      <a:lnTo>
                        <a:pt x="398926" y="451578"/>
                      </a:lnTo>
                      <a:lnTo>
                        <a:pt x="398926" y="337859"/>
                      </a:lnTo>
                      <a:close/>
                      <a:moveTo>
                        <a:pt x="426331" y="192308"/>
                      </a:moveTo>
                      <a:lnTo>
                        <a:pt x="426331" y="306027"/>
                      </a:lnTo>
                      <a:lnTo>
                        <a:pt x="540050" y="306027"/>
                      </a:lnTo>
                      <a:lnTo>
                        <a:pt x="540050" y="192308"/>
                      </a:lnTo>
                      <a:close/>
                      <a:moveTo>
                        <a:pt x="285207" y="192308"/>
                      </a:moveTo>
                      <a:lnTo>
                        <a:pt x="285207" y="306027"/>
                      </a:lnTo>
                      <a:lnTo>
                        <a:pt x="398926" y="306027"/>
                      </a:lnTo>
                      <a:lnTo>
                        <a:pt x="398926" y="192308"/>
                      </a:lnTo>
                      <a:close/>
                      <a:moveTo>
                        <a:pt x="0" y="0"/>
                      </a:moveTo>
                      <a:lnTo>
                        <a:pt x="306850" y="0"/>
                      </a:lnTo>
                      <a:lnTo>
                        <a:pt x="306850" y="115748"/>
                      </a:lnTo>
                      <a:lnTo>
                        <a:pt x="600261" y="115748"/>
                      </a:lnTo>
                      <a:lnTo>
                        <a:pt x="600261" y="639087"/>
                      </a:lnTo>
                      <a:lnTo>
                        <a:pt x="0" y="639087"/>
                      </a:lnTo>
                      <a:lnTo>
                        <a:pt x="0" y="523339"/>
                      </a:lnTo>
                      <a:lnTo>
                        <a:pt x="0" y="115748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685800">
                    <a:defRPr/>
                  </a:pPr>
                  <a:endParaRPr lang="en-US" sz="1400" kern="0" dirty="0" smtClean="0">
                    <a:solidFill>
                      <a:prstClr val="white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45" name="Freeform: Shape 183">
                  <a:extLst>
                    <a:ext uri="{FF2B5EF4-FFF2-40B4-BE49-F238E27FC236}">
                      <a16:creationId xmlns="" xmlns:a16="http://schemas.microsoft.com/office/drawing/2014/main" id="{5C0BA4D0-3287-40CF-B96A-43B13BA807C4}"/>
                    </a:ext>
                  </a:extLst>
                </p:cNvPr>
                <p:cNvSpPr/>
                <p:nvPr/>
              </p:nvSpPr>
              <p:spPr>
                <a:xfrm>
                  <a:off x="6399687" y="4276328"/>
                  <a:ext cx="399552" cy="1158732"/>
                </a:xfrm>
                <a:custGeom>
                  <a:avLst/>
                  <a:gdLst>
                    <a:gd name="connsiteX0" fmla="*/ 159201 w 408118"/>
                    <a:gd name="connsiteY0" fmla="*/ 578755 h 1158732"/>
                    <a:gd name="connsiteX1" fmla="*/ 159201 w 408118"/>
                    <a:gd name="connsiteY1" fmla="*/ 665832 h 1158732"/>
                    <a:gd name="connsiteX2" fmla="*/ 248917 w 408118"/>
                    <a:gd name="connsiteY2" fmla="*/ 665832 h 1158732"/>
                    <a:gd name="connsiteX3" fmla="*/ 248917 w 408118"/>
                    <a:gd name="connsiteY3" fmla="*/ 578755 h 1158732"/>
                    <a:gd name="connsiteX4" fmla="*/ 159201 w 408118"/>
                    <a:gd name="connsiteY4" fmla="*/ 578755 h 1158732"/>
                    <a:gd name="connsiteX5" fmla="*/ 278823 w 408118"/>
                    <a:gd name="connsiteY5" fmla="*/ 576996 h 1158732"/>
                    <a:gd name="connsiteX6" fmla="*/ 278823 w 408118"/>
                    <a:gd name="connsiteY6" fmla="*/ 664073 h 1158732"/>
                    <a:gd name="connsiteX7" fmla="*/ 365020 w 408118"/>
                    <a:gd name="connsiteY7" fmla="*/ 664073 h 1158732"/>
                    <a:gd name="connsiteX8" fmla="*/ 365020 w 408118"/>
                    <a:gd name="connsiteY8" fmla="*/ 576996 h 1158732"/>
                    <a:gd name="connsiteX9" fmla="*/ 278823 w 408118"/>
                    <a:gd name="connsiteY9" fmla="*/ 576996 h 1158732"/>
                    <a:gd name="connsiteX10" fmla="*/ 43979 w 408118"/>
                    <a:gd name="connsiteY10" fmla="*/ 576996 h 1158732"/>
                    <a:gd name="connsiteX11" fmla="*/ 43979 w 408118"/>
                    <a:gd name="connsiteY11" fmla="*/ 664952 h 1158732"/>
                    <a:gd name="connsiteX12" fmla="*/ 131935 w 408118"/>
                    <a:gd name="connsiteY12" fmla="*/ 665832 h 1158732"/>
                    <a:gd name="connsiteX13" fmla="*/ 132814 w 408118"/>
                    <a:gd name="connsiteY13" fmla="*/ 576996 h 1158732"/>
                    <a:gd name="connsiteX14" fmla="*/ 43979 w 408118"/>
                    <a:gd name="connsiteY14" fmla="*/ 576996 h 1158732"/>
                    <a:gd name="connsiteX15" fmla="*/ 160960 w 408118"/>
                    <a:gd name="connsiteY15" fmla="*/ 449459 h 1158732"/>
                    <a:gd name="connsiteX16" fmla="*/ 160960 w 408118"/>
                    <a:gd name="connsiteY16" fmla="*/ 539174 h 1158732"/>
                    <a:gd name="connsiteX17" fmla="*/ 248917 w 408118"/>
                    <a:gd name="connsiteY17" fmla="*/ 539174 h 1158732"/>
                    <a:gd name="connsiteX18" fmla="*/ 248917 w 408118"/>
                    <a:gd name="connsiteY18" fmla="*/ 449459 h 1158732"/>
                    <a:gd name="connsiteX19" fmla="*/ 160960 w 408118"/>
                    <a:gd name="connsiteY19" fmla="*/ 449459 h 1158732"/>
                    <a:gd name="connsiteX20" fmla="*/ 44858 w 408118"/>
                    <a:gd name="connsiteY20" fmla="*/ 449459 h 1158732"/>
                    <a:gd name="connsiteX21" fmla="*/ 44858 w 408118"/>
                    <a:gd name="connsiteY21" fmla="*/ 539174 h 1158732"/>
                    <a:gd name="connsiteX22" fmla="*/ 131935 w 408118"/>
                    <a:gd name="connsiteY22" fmla="*/ 539174 h 1158732"/>
                    <a:gd name="connsiteX23" fmla="*/ 131935 w 408118"/>
                    <a:gd name="connsiteY23" fmla="*/ 449459 h 1158732"/>
                    <a:gd name="connsiteX24" fmla="*/ 44858 w 408118"/>
                    <a:gd name="connsiteY24" fmla="*/ 449459 h 1158732"/>
                    <a:gd name="connsiteX25" fmla="*/ 278823 w 408118"/>
                    <a:gd name="connsiteY25" fmla="*/ 448579 h 1158732"/>
                    <a:gd name="connsiteX26" fmla="*/ 278823 w 408118"/>
                    <a:gd name="connsiteY26" fmla="*/ 538295 h 1158732"/>
                    <a:gd name="connsiteX27" fmla="*/ 365020 w 408118"/>
                    <a:gd name="connsiteY27" fmla="*/ 538295 h 1158732"/>
                    <a:gd name="connsiteX28" fmla="*/ 365020 w 408118"/>
                    <a:gd name="connsiteY28" fmla="*/ 448579 h 1158732"/>
                    <a:gd name="connsiteX29" fmla="*/ 278823 w 408118"/>
                    <a:gd name="connsiteY29" fmla="*/ 448579 h 1158732"/>
                    <a:gd name="connsiteX30" fmla="*/ 277943 w 408118"/>
                    <a:gd name="connsiteY30" fmla="*/ 318403 h 1158732"/>
                    <a:gd name="connsiteX31" fmla="*/ 277943 w 408118"/>
                    <a:gd name="connsiteY31" fmla="*/ 408999 h 1158732"/>
                    <a:gd name="connsiteX32" fmla="*/ 366779 w 408118"/>
                    <a:gd name="connsiteY32" fmla="*/ 408999 h 1158732"/>
                    <a:gd name="connsiteX33" fmla="*/ 366779 w 408118"/>
                    <a:gd name="connsiteY33" fmla="*/ 318403 h 1158732"/>
                    <a:gd name="connsiteX34" fmla="*/ 277943 w 408118"/>
                    <a:gd name="connsiteY34" fmla="*/ 318403 h 1158732"/>
                    <a:gd name="connsiteX35" fmla="*/ 159201 w 408118"/>
                    <a:gd name="connsiteY35" fmla="*/ 318403 h 1158732"/>
                    <a:gd name="connsiteX36" fmla="*/ 159201 w 408118"/>
                    <a:gd name="connsiteY36" fmla="*/ 407239 h 1158732"/>
                    <a:gd name="connsiteX37" fmla="*/ 249797 w 408118"/>
                    <a:gd name="connsiteY37" fmla="*/ 407239 h 1158732"/>
                    <a:gd name="connsiteX38" fmla="*/ 249797 w 408118"/>
                    <a:gd name="connsiteY38" fmla="*/ 318403 h 1158732"/>
                    <a:gd name="connsiteX39" fmla="*/ 159201 w 408118"/>
                    <a:gd name="connsiteY39" fmla="*/ 318403 h 1158732"/>
                    <a:gd name="connsiteX40" fmla="*/ 43979 w 408118"/>
                    <a:gd name="connsiteY40" fmla="*/ 318403 h 1158732"/>
                    <a:gd name="connsiteX41" fmla="*/ 43979 w 408118"/>
                    <a:gd name="connsiteY41" fmla="*/ 408119 h 1158732"/>
                    <a:gd name="connsiteX42" fmla="*/ 131935 w 408118"/>
                    <a:gd name="connsiteY42" fmla="*/ 408119 h 1158732"/>
                    <a:gd name="connsiteX43" fmla="*/ 131935 w 408118"/>
                    <a:gd name="connsiteY43" fmla="*/ 318403 h 1158732"/>
                    <a:gd name="connsiteX44" fmla="*/ 43979 w 408118"/>
                    <a:gd name="connsiteY44" fmla="*/ 318403 h 1158732"/>
                    <a:gd name="connsiteX45" fmla="*/ 43098 w 408118"/>
                    <a:gd name="connsiteY45" fmla="*/ 187348 h 1158732"/>
                    <a:gd name="connsiteX46" fmla="*/ 43098 w 408118"/>
                    <a:gd name="connsiteY46" fmla="*/ 279702 h 1158732"/>
                    <a:gd name="connsiteX47" fmla="*/ 132814 w 408118"/>
                    <a:gd name="connsiteY47" fmla="*/ 279702 h 1158732"/>
                    <a:gd name="connsiteX48" fmla="*/ 132814 w 408118"/>
                    <a:gd name="connsiteY48" fmla="*/ 187348 h 1158732"/>
                    <a:gd name="connsiteX49" fmla="*/ 43098 w 408118"/>
                    <a:gd name="connsiteY49" fmla="*/ 187348 h 1158732"/>
                    <a:gd name="connsiteX50" fmla="*/ 43979 w 408118"/>
                    <a:gd name="connsiteY50" fmla="*/ 60690 h 1158732"/>
                    <a:gd name="connsiteX51" fmla="*/ 43979 w 408118"/>
                    <a:gd name="connsiteY51" fmla="*/ 152166 h 1158732"/>
                    <a:gd name="connsiteX52" fmla="*/ 133694 w 408118"/>
                    <a:gd name="connsiteY52" fmla="*/ 152166 h 1158732"/>
                    <a:gd name="connsiteX53" fmla="*/ 133694 w 408118"/>
                    <a:gd name="connsiteY53" fmla="*/ 60690 h 1158732"/>
                    <a:gd name="connsiteX54" fmla="*/ 43979 w 408118"/>
                    <a:gd name="connsiteY54" fmla="*/ 60690 h 1158732"/>
                    <a:gd name="connsiteX55" fmla="*/ 0 w 408118"/>
                    <a:gd name="connsiteY55" fmla="*/ 0 h 1158732"/>
                    <a:gd name="connsiteX56" fmla="*/ 155702 w 408118"/>
                    <a:gd name="connsiteY56" fmla="*/ 0 h 1158732"/>
                    <a:gd name="connsiteX57" fmla="*/ 155702 w 408118"/>
                    <a:gd name="connsiteY57" fmla="*/ 281913 h 1158732"/>
                    <a:gd name="connsiteX58" fmla="*/ 277943 w 408118"/>
                    <a:gd name="connsiteY58" fmla="*/ 281913 h 1158732"/>
                    <a:gd name="connsiteX59" fmla="*/ 277943 w 408118"/>
                    <a:gd name="connsiteY59" fmla="*/ 282341 h 1158732"/>
                    <a:gd name="connsiteX60" fmla="*/ 366779 w 408118"/>
                    <a:gd name="connsiteY60" fmla="*/ 282341 h 1158732"/>
                    <a:gd name="connsiteX61" fmla="*/ 366779 w 408118"/>
                    <a:gd name="connsiteY61" fmla="*/ 281913 h 1158732"/>
                    <a:gd name="connsiteX62" fmla="*/ 408118 w 408118"/>
                    <a:gd name="connsiteY62" fmla="*/ 281913 h 1158732"/>
                    <a:gd name="connsiteX63" fmla="*/ 408118 w 408118"/>
                    <a:gd name="connsiteY63" fmla="*/ 1158732 h 1158732"/>
                    <a:gd name="connsiteX64" fmla="*/ 0 w 408118"/>
                    <a:gd name="connsiteY64" fmla="*/ 1158732 h 1158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408118" h="1158732">
                      <a:moveTo>
                        <a:pt x="159201" y="578755"/>
                      </a:moveTo>
                      <a:cubicBezTo>
                        <a:pt x="159201" y="608660"/>
                        <a:pt x="159201" y="638565"/>
                        <a:pt x="159201" y="665832"/>
                      </a:cubicBezTo>
                      <a:cubicBezTo>
                        <a:pt x="189986" y="668470"/>
                        <a:pt x="222530" y="665832"/>
                        <a:pt x="248917" y="665832"/>
                      </a:cubicBezTo>
                      <a:cubicBezTo>
                        <a:pt x="248917" y="634168"/>
                        <a:pt x="248917" y="608660"/>
                        <a:pt x="248917" y="578755"/>
                      </a:cubicBezTo>
                      <a:cubicBezTo>
                        <a:pt x="217253" y="578755"/>
                        <a:pt x="188227" y="578755"/>
                        <a:pt x="159201" y="578755"/>
                      </a:cubicBezTo>
                      <a:close/>
                      <a:moveTo>
                        <a:pt x="278823" y="576996"/>
                      </a:moveTo>
                      <a:cubicBezTo>
                        <a:pt x="278823" y="606901"/>
                        <a:pt x="278823" y="632408"/>
                        <a:pt x="278823" y="664073"/>
                      </a:cubicBezTo>
                      <a:cubicBezTo>
                        <a:pt x="311366" y="664073"/>
                        <a:pt x="346549" y="664952"/>
                        <a:pt x="365020" y="664073"/>
                      </a:cubicBezTo>
                      <a:cubicBezTo>
                        <a:pt x="365020" y="632408"/>
                        <a:pt x="365020" y="606021"/>
                        <a:pt x="365020" y="576996"/>
                      </a:cubicBezTo>
                      <a:cubicBezTo>
                        <a:pt x="335114" y="576996"/>
                        <a:pt x="306968" y="576996"/>
                        <a:pt x="278823" y="576996"/>
                      </a:cubicBezTo>
                      <a:close/>
                      <a:moveTo>
                        <a:pt x="43979" y="576996"/>
                      </a:moveTo>
                      <a:cubicBezTo>
                        <a:pt x="43979" y="605142"/>
                        <a:pt x="43979" y="638565"/>
                        <a:pt x="43979" y="664952"/>
                      </a:cubicBezTo>
                      <a:cubicBezTo>
                        <a:pt x="81799" y="664952"/>
                        <a:pt x="105548" y="664073"/>
                        <a:pt x="131935" y="665832"/>
                      </a:cubicBezTo>
                      <a:cubicBezTo>
                        <a:pt x="131935" y="631529"/>
                        <a:pt x="132814" y="602503"/>
                        <a:pt x="132814" y="576996"/>
                      </a:cubicBezTo>
                      <a:cubicBezTo>
                        <a:pt x="102030" y="576996"/>
                        <a:pt x="73884" y="576996"/>
                        <a:pt x="43979" y="576996"/>
                      </a:cubicBezTo>
                      <a:close/>
                      <a:moveTo>
                        <a:pt x="160960" y="449459"/>
                      </a:moveTo>
                      <a:cubicBezTo>
                        <a:pt x="160960" y="481123"/>
                        <a:pt x="160960" y="509268"/>
                        <a:pt x="160960" y="539174"/>
                      </a:cubicBezTo>
                      <a:cubicBezTo>
                        <a:pt x="189986" y="539174"/>
                        <a:pt x="217253" y="539174"/>
                        <a:pt x="248917" y="539174"/>
                      </a:cubicBezTo>
                      <a:cubicBezTo>
                        <a:pt x="248917" y="506630"/>
                        <a:pt x="248917" y="477604"/>
                        <a:pt x="248917" y="449459"/>
                      </a:cubicBezTo>
                      <a:cubicBezTo>
                        <a:pt x="218132" y="449459"/>
                        <a:pt x="189107" y="449459"/>
                        <a:pt x="160960" y="449459"/>
                      </a:cubicBezTo>
                      <a:close/>
                      <a:moveTo>
                        <a:pt x="44858" y="449459"/>
                      </a:moveTo>
                      <a:cubicBezTo>
                        <a:pt x="44858" y="481123"/>
                        <a:pt x="44858" y="509268"/>
                        <a:pt x="44858" y="539174"/>
                      </a:cubicBezTo>
                      <a:cubicBezTo>
                        <a:pt x="75643" y="539174"/>
                        <a:pt x="102910" y="539174"/>
                        <a:pt x="131935" y="539174"/>
                      </a:cubicBezTo>
                      <a:cubicBezTo>
                        <a:pt x="131935" y="505751"/>
                        <a:pt x="131935" y="477604"/>
                        <a:pt x="131935" y="449459"/>
                      </a:cubicBezTo>
                      <a:cubicBezTo>
                        <a:pt x="100271" y="449459"/>
                        <a:pt x="72125" y="449459"/>
                        <a:pt x="44858" y="449459"/>
                      </a:cubicBezTo>
                      <a:close/>
                      <a:moveTo>
                        <a:pt x="278823" y="448579"/>
                      </a:moveTo>
                      <a:cubicBezTo>
                        <a:pt x="278823" y="479364"/>
                        <a:pt x="278823" y="508389"/>
                        <a:pt x="278823" y="538295"/>
                      </a:cubicBezTo>
                      <a:cubicBezTo>
                        <a:pt x="308727" y="538295"/>
                        <a:pt x="335994" y="538295"/>
                        <a:pt x="365020" y="538295"/>
                      </a:cubicBezTo>
                      <a:cubicBezTo>
                        <a:pt x="365020" y="507510"/>
                        <a:pt x="365020" y="478484"/>
                        <a:pt x="365020" y="448579"/>
                      </a:cubicBezTo>
                      <a:cubicBezTo>
                        <a:pt x="335994" y="448579"/>
                        <a:pt x="308727" y="448579"/>
                        <a:pt x="278823" y="448579"/>
                      </a:cubicBezTo>
                      <a:close/>
                      <a:moveTo>
                        <a:pt x="277943" y="318403"/>
                      </a:moveTo>
                      <a:cubicBezTo>
                        <a:pt x="277943" y="350067"/>
                        <a:pt x="277943" y="379094"/>
                        <a:pt x="277943" y="408999"/>
                      </a:cubicBezTo>
                      <a:cubicBezTo>
                        <a:pt x="309607" y="408999"/>
                        <a:pt x="337753" y="408999"/>
                        <a:pt x="366779" y="408999"/>
                      </a:cubicBezTo>
                      <a:cubicBezTo>
                        <a:pt x="366779" y="378214"/>
                        <a:pt x="366779" y="349187"/>
                        <a:pt x="366779" y="318403"/>
                      </a:cubicBezTo>
                      <a:cubicBezTo>
                        <a:pt x="336873" y="318403"/>
                        <a:pt x="307848" y="318403"/>
                        <a:pt x="277943" y="318403"/>
                      </a:cubicBezTo>
                      <a:close/>
                      <a:moveTo>
                        <a:pt x="159201" y="318403"/>
                      </a:moveTo>
                      <a:cubicBezTo>
                        <a:pt x="159201" y="349187"/>
                        <a:pt x="159201" y="378214"/>
                        <a:pt x="159201" y="407239"/>
                      </a:cubicBezTo>
                      <a:cubicBezTo>
                        <a:pt x="190866" y="407239"/>
                        <a:pt x="219892" y="407239"/>
                        <a:pt x="249797" y="407239"/>
                      </a:cubicBezTo>
                      <a:cubicBezTo>
                        <a:pt x="249797" y="376454"/>
                        <a:pt x="249797" y="349187"/>
                        <a:pt x="249797" y="318403"/>
                      </a:cubicBezTo>
                      <a:cubicBezTo>
                        <a:pt x="217253" y="318403"/>
                        <a:pt x="188227" y="318403"/>
                        <a:pt x="159201" y="318403"/>
                      </a:cubicBezTo>
                      <a:close/>
                      <a:moveTo>
                        <a:pt x="43979" y="318403"/>
                      </a:moveTo>
                      <a:cubicBezTo>
                        <a:pt x="43979" y="349187"/>
                        <a:pt x="43979" y="378214"/>
                        <a:pt x="43979" y="408119"/>
                      </a:cubicBezTo>
                      <a:cubicBezTo>
                        <a:pt x="74764" y="408119"/>
                        <a:pt x="102910" y="408119"/>
                        <a:pt x="131935" y="408119"/>
                      </a:cubicBezTo>
                      <a:cubicBezTo>
                        <a:pt x="131935" y="376454"/>
                        <a:pt x="131935" y="347429"/>
                        <a:pt x="131935" y="318403"/>
                      </a:cubicBezTo>
                      <a:cubicBezTo>
                        <a:pt x="100271" y="318403"/>
                        <a:pt x="72125" y="318403"/>
                        <a:pt x="43979" y="318403"/>
                      </a:cubicBezTo>
                      <a:close/>
                      <a:moveTo>
                        <a:pt x="43098" y="187348"/>
                      </a:moveTo>
                      <a:cubicBezTo>
                        <a:pt x="43098" y="219892"/>
                        <a:pt x="43098" y="249797"/>
                        <a:pt x="43098" y="279702"/>
                      </a:cubicBezTo>
                      <a:cubicBezTo>
                        <a:pt x="74764" y="279702"/>
                        <a:pt x="104668" y="279702"/>
                        <a:pt x="132814" y="279702"/>
                      </a:cubicBezTo>
                      <a:cubicBezTo>
                        <a:pt x="132814" y="247159"/>
                        <a:pt x="132814" y="218133"/>
                        <a:pt x="132814" y="187348"/>
                      </a:cubicBezTo>
                      <a:cubicBezTo>
                        <a:pt x="102030" y="187348"/>
                        <a:pt x="73884" y="187348"/>
                        <a:pt x="43098" y="187348"/>
                      </a:cubicBezTo>
                      <a:close/>
                      <a:moveTo>
                        <a:pt x="43979" y="60690"/>
                      </a:moveTo>
                      <a:cubicBezTo>
                        <a:pt x="43979" y="93234"/>
                        <a:pt x="43979" y="122259"/>
                        <a:pt x="43979" y="152166"/>
                      </a:cubicBezTo>
                      <a:cubicBezTo>
                        <a:pt x="75643" y="152166"/>
                        <a:pt x="103789" y="152166"/>
                        <a:pt x="133694" y="152166"/>
                      </a:cubicBezTo>
                      <a:cubicBezTo>
                        <a:pt x="133694" y="121380"/>
                        <a:pt x="133694" y="93234"/>
                        <a:pt x="133694" y="60690"/>
                      </a:cubicBezTo>
                      <a:cubicBezTo>
                        <a:pt x="101151" y="60690"/>
                        <a:pt x="72125" y="60690"/>
                        <a:pt x="43979" y="60690"/>
                      </a:cubicBezTo>
                      <a:close/>
                      <a:moveTo>
                        <a:pt x="0" y="0"/>
                      </a:moveTo>
                      <a:lnTo>
                        <a:pt x="155702" y="0"/>
                      </a:lnTo>
                      <a:lnTo>
                        <a:pt x="155702" y="281913"/>
                      </a:lnTo>
                      <a:lnTo>
                        <a:pt x="277943" y="281913"/>
                      </a:lnTo>
                      <a:lnTo>
                        <a:pt x="277943" y="282341"/>
                      </a:lnTo>
                      <a:cubicBezTo>
                        <a:pt x="307848" y="282341"/>
                        <a:pt x="334235" y="282341"/>
                        <a:pt x="366779" y="282341"/>
                      </a:cubicBezTo>
                      <a:lnTo>
                        <a:pt x="366779" y="281913"/>
                      </a:lnTo>
                      <a:lnTo>
                        <a:pt x="408118" y="281913"/>
                      </a:lnTo>
                      <a:lnTo>
                        <a:pt x="408118" y="1158732"/>
                      </a:lnTo>
                      <a:lnTo>
                        <a:pt x="0" y="1158732"/>
                      </a:lnTo>
                      <a:close/>
                    </a:path>
                  </a:pathLst>
                </a:custGeom>
                <a:solidFill>
                  <a:srgbClr val="FEB85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defTabSz="685800">
                    <a:defRPr/>
                  </a:pPr>
                  <a:endParaRPr lang="en-US" sz="1400" kern="0" dirty="0" smtClean="0">
                    <a:solidFill>
                      <a:prstClr val="black"/>
                    </a:solidFill>
                    <a:latin typeface="Arial"/>
                    <a:ea typeface="Arial Unicode MS"/>
                  </a:endParaRPr>
                </a:p>
              </p:txBody>
            </p:sp>
            <p:sp>
              <p:nvSpPr>
                <p:cNvPr id="46" name="Freeform: Shape 201">
                  <a:extLst>
                    <a:ext uri="{FF2B5EF4-FFF2-40B4-BE49-F238E27FC236}">
                      <a16:creationId xmlns="" xmlns:a16="http://schemas.microsoft.com/office/drawing/2014/main" id="{870A3D36-6E95-4A43-A326-F3C0C8F60F7F}"/>
                    </a:ext>
                  </a:extLst>
                </p:cNvPr>
                <p:cNvSpPr/>
                <p:nvPr/>
              </p:nvSpPr>
              <p:spPr>
                <a:xfrm flipH="1">
                  <a:off x="4037547" y="4564529"/>
                  <a:ext cx="299970" cy="869936"/>
                </a:xfrm>
                <a:custGeom>
                  <a:avLst/>
                  <a:gdLst>
                    <a:gd name="connsiteX0" fmla="*/ 159201 w 408118"/>
                    <a:gd name="connsiteY0" fmla="*/ 578755 h 1158732"/>
                    <a:gd name="connsiteX1" fmla="*/ 159201 w 408118"/>
                    <a:gd name="connsiteY1" fmla="*/ 665832 h 1158732"/>
                    <a:gd name="connsiteX2" fmla="*/ 248917 w 408118"/>
                    <a:gd name="connsiteY2" fmla="*/ 665832 h 1158732"/>
                    <a:gd name="connsiteX3" fmla="*/ 248917 w 408118"/>
                    <a:gd name="connsiteY3" fmla="*/ 578755 h 1158732"/>
                    <a:gd name="connsiteX4" fmla="*/ 159201 w 408118"/>
                    <a:gd name="connsiteY4" fmla="*/ 578755 h 1158732"/>
                    <a:gd name="connsiteX5" fmla="*/ 278823 w 408118"/>
                    <a:gd name="connsiteY5" fmla="*/ 576996 h 1158732"/>
                    <a:gd name="connsiteX6" fmla="*/ 278823 w 408118"/>
                    <a:gd name="connsiteY6" fmla="*/ 664073 h 1158732"/>
                    <a:gd name="connsiteX7" fmla="*/ 365020 w 408118"/>
                    <a:gd name="connsiteY7" fmla="*/ 664073 h 1158732"/>
                    <a:gd name="connsiteX8" fmla="*/ 365020 w 408118"/>
                    <a:gd name="connsiteY8" fmla="*/ 576996 h 1158732"/>
                    <a:gd name="connsiteX9" fmla="*/ 278823 w 408118"/>
                    <a:gd name="connsiteY9" fmla="*/ 576996 h 1158732"/>
                    <a:gd name="connsiteX10" fmla="*/ 43979 w 408118"/>
                    <a:gd name="connsiteY10" fmla="*/ 576996 h 1158732"/>
                    <a:gd name="connsiteX11" fmla="*/ 43979 w 408118"/>
                    <a:gd name="connsiteY11" fmla="*/ 664952 h 1158732"/>
                    <a:gd name="connsiteX12" fmla="*/ 131935 w 408118"/>
                    <a:gd name="connsiteY12" fmla="*/ 665832 h 1158732"/>
                    <a:gd name="connsiteX13" fmla="*/ 132814 w 408118"/>
                    <a:gd name="connsiteY13" fmla="*/ 576996 h 1158732"/>
                    <a:gd name="connsiteX14" fmla="*/ 43979 w 408118"/>
                    <a:gd name="connsiteY14" fmla="*/ 576996 h 1158732"/>
                    <a:gd name="connsiteX15" fmla="*/ 160960 w 408118"/>
                    <a:gd name="connsiteY15" fmla="*/ 449459 h 1158732"/>
                    <a:gd name="connsiteX16" fmla="*/ 160960 w 408118"/>
                    <a:gd name="connsiteY16" fmla="*/ 539174 h 1158732"/>
                    <a:gd name="connsiteX17" fmla="*/ 248917 w 408118"/>
                    <a:gd name="connsiteY17" fmla="*/ 539174 h 1158732"/>
                    <a:gd name="connsiteX18" fmla="*/ 248917 w 408118"/>
                    <a:gd name="connsiteY18" fmla="*/ 449459 h 1158732"/>
                    <a:gd name="connsiteX19" fmla="*/ 160960 w 408118"/>
                    <a:gd name="connsiteY19" fmla="*/ 449459 h 1158732"/>
                    <a:gd name="connsiteX20" fmla="*/ 44858 w 408118"/>
                    <a:gd name="connsiteY20" fmla="*/ 449459 h 1158732"/>
                    <a:gd name="connsiteX21" fmla="*/ 44858 w 408118"/>
                    <a:gd name="connsiteY21" fmla="*/ 539174 h 1158732"/>
                    <a:gd name="connsiteX22" fmla="*/ 131935 w 408118"/>
                    <a:gd name="connsiteY22" fmla="*/ 539174 h 1158732"/>
                    <a:gd name="connsiteX23" fmla="*/ 131935 w 408118"/>
                    <a:gd name="connsiteY23" fmla="*/ 449459 h 1158732"/>
                    <a:gd name="connsiteX24" fmla="*/ 44858 w 408118"/>
                    <a:gd name="connsiteY24" fmla="*/ 449459 h 1158732"/>
                    <a:gd name="connsiteX25" fmla="*/ 278823 w 408118"/>
                    <a:gd name="connsiteY25" fmla="*/ 448579 h 1158732"/>
                    <a:gd name="connsiteX26" fmla="*/ 278823 w 408118"/>
                    <a:gd name="connsiteY26" fmla="*/ 538295 h 1158732"/>
                    <a:gd name="connsiteX27" fmla="*/ 365020 w 408118"/>
                    <a:gd name="connsiteY27" fmla="*/ 538295 h 1158732"/>
                    <a:gd name="connsiteX28" fmla="*/ 365020 w 408118"/>
                    <a:gd name="connsiteY28" fmla="*/ 448579 h 1158732"/>
                    <a:gd name="connsiteX29" fmla="*/ 278823 w 408118"/>
                    <a:gd name="connsiteY29" fmla="*/ 448579 h 1158732"/>
                    <a:gd name="connsiteX30" fmla="*/ 277943 w 408118"/>
                    <a:gd name="connsiteY30" fmla="*/ 318403 h 1158732"/>
                    <a:gd name="connsiteX31" fmla="*/ 277943 w 408118"/>
                    <a:gd name="connsiteY31" fmla="*/ 408999 h 1158732"/>
                    <a:gd name="connsiteX32" fmla="*/ 366779 w 408118"/>
                    <a:gd name="connsiteY32" fmla="*/ 408999 h 1158732"/>
                    <a:gd name="connsiteX33" fmla="*/ 366779 w 408118"/>
                    <a:gd name="connsiteY33" fmla="*/ 318403 h 1158732"/>
                    <a:gd name="connsiteX34" fmla="*/ 277943 w 408118"/>
                    <a:gd name="connsiteY34" fmla="*/ 318403 h 1158732"/>
                    <a:gd name="connsiteX35" fmla="*/ 159201 w 408118"/>
                    <a:gd name="connsiteY35" fmla="*/ 318403 h 1158732"/>
                    <a:gd name="connsiteX36" fmla="*/ 159201 w 408118"/>
                    <a:gd name="connsiteY36" fmla="*/ 407239 h 1158732"/>
                    <a:gd name="connsiteX37" fmla="*/ 249797 w 408118"/>
                    <a:gd name="connsiteY37" fmla="*/ 407239 h 1158732"/>
                    <a:gd name="connsiteX38" fmla="*/ 249797 w 408118"/>
                    <a:gd name="connsiteY38" fmla="*/ 318403 h 1158732"/>
                    <a:gd name="connsiteX39" fmla="*/ 159201 w 408118"/>
                    <a:gd name="connsiteY39" fmla="*/ 318403 h 1158732"/>
                    <a:gd name="connsiteX40" fmla="*/ 43979 w 408118"/>
                    <a:gd name="connsiteY40" fmla="*/ 318403 h 1158732"/>
                    <a:gd name="connsiteX41" fmla="*/ 43979 w 408118"/>
                    <a:gd name="connsiteY41" fmla="*/ 408119 h 1158732"/>
                    <a:gd name="connsiteX42" fmla="*/ 131935 w 408118"/>
                    <a:gd name="connsiteY42" fmla="*/ 408119 h 1158732"/>
                    <a:gd name="connsiteX43" fmla="*/ 131935 w 408118"/>
                    <a:gd name="connsiteY43" fmla="*/ 318403 h 1158732"/>
                    <a:gd name="connsiteX44" fmla="*/ 43979 w 408118"/>
                    <a:gd name="connsiteY44" fmla="*/ 318403 h 1158732"/>
                    <a:gd name="connsiteX45" fmla="*/ 43098 w 408118"/>
                    <a:gd name="connsiteY45" fmla="*/ 187348 h 1158732"/>
                    <a:gd name="connsiteX46" fmla="*/ 43098 w 408118"/>
                    <a:gd name="connsiteY46" fmla="*/ 279702 h 1158732"/>
                    <a:gd name="connsiteX47" fmla="*/ 132814 w 408118"/>
                    <a:gd name="connsiteY47" fmla="*/ 279702 h 1158732"/>
                    <a:gd name="connsiteX48" fmla="*/ 132814 w 408118"/>
                    <a:gd name="connsiteY48" fmla="*/ 187348 h 1158732"/>
                    <a:gd name="connsiteX49" fmla="*/ 43098 w 408118"/>
                    <a:gd name="connsiteY49" fmla="*/ 187348 h 1158732"/>
                    <a:gd name="connsiteX50" fmla="*/ 43979 w 408118"/>
                    <a:gd name="connsiteY50" fmla="*/ 60690 h 1158732"/>
                    <a:gd name="connsiteX51" fmla="*/ 43979 w 408118"/>
                    <a:gd name="connsiteY51" fmla="*/ 152166 h 1158732"/>
                    <a:gd name="connsiteX52" fmla="*/ 133694 w 408118"/>
                    <a:gd name="connsiteY52" fmla="*/ 152166 h 1158732"/>
                    <a:gd name="connsiteX53" fmla="*/ 133694 w 408118"/>
                    <a:gd name="connsiteY53" fmla="*/ 60690 h 1158732"/>
                    <a:gd name="connsiteX54" fmla="*/ 43979 w 408118"/>
                    <a:gd name="connsiteY54" fmla="*/ 60690 h 1158732"/>
                    <a:gd name="connsiteX55" fmla="*/ 0 w 408118"/>
                    <a:gd name="connsiteY55" fmla="*/ 0 h 1158732"/>
                    <a:gd name="connsiteX56" fmla="*/ 155702 w 408118"/>
                    <a:gd name="connsiteY56" fmla="*/ 0 h 1158732"/>
                    <a:gd name="connsiteX57" fmla="*/ 155702 w 408118"/>
                    <a:gd name="connsiteY57" fmla="*/ 281913 h 1158732"/>
                    <a:gd name="connsiteX58" fmla="*/ 277943 w 408118"/>
                    <a:gd name="connsiteY58" fmla="*/ 281913 h 1158732"/>
                    <a:gd name="connsiteX59" fmla="*/ 277943 w 408118"/>
                    <a:gd name="connsiteY59" fmla="*/ 282341 h 1158732"/>
                    <a:gd name="connsiteX60" fmla="*/ 366779 w 408118"/>
                    <a:gd name="connsiteY60" fmla="*/ 282341 h 1158732"/>
                    <a:gd name="connsiteX61" fmla="*/ 366779 w 408118"/>
                    <a:gd name="connsiteY61" fmla="*/ 281913 h 1158732"/>
                    <a:gd name="connsiteX62" fmla="*/ 408118 w 408118"/>
                    <a:gd name="connsiteY62" fmla="*/ 281913 h 1158732"/>
                    <a:gd name="connsiteX63" fmla="*/ 408118 w 408118"/>
                    <a:gd name="connsiteY63" fmla="*/ 1158732 h 1158732"/>
                    <a:gd name="connsiteX64" fmla="*/ 0 w 408118"/>
                    <a:gd name="connsiteY64" fmla="*/ 1158732 h 1158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408118" h="1158732">
                      <a:moveTo>
                        <a:pt x="159201" y="578755"/>
                      </a:moveTo>
                      <a:cubicBezTo>
                        <a:pt x="159201" y="608660"/>
                        <a:pt x="159201" y="638565"/>
                        <a:pt x="159201" y="665832"/>
                      </a:cubicBezTo>
                      <a:cubicBezTo>
                        <a:pt x="189986" y="668470"/>
                        <a:pt x="222530" y="665832"/>
                        <a:pt x="248917" y="665832"/>
                      </a:cubicBezTo>
                      <a:cubicBezTo>
                        <a:pt x="248917" y="634168"/>
                        <a:pt x="248917" y="608660"/>
                        <a:pt x="248917" y="578755"/>
                      </a:cubicBezTo>
                      <a:cubicBezTo>
                        <a:pt x="217253" y="578755"/>
                        <a:pt x="188227" y="578755"/>
                        <a:pt x="159201" y="578755"/>
                      </a:cubicBezTo>
                      <a:close/>
                      <a:moveTo>
                        <a:pt x="278823" y="576996"/>
                      </a:moveTo>
                      <a:cubicBezTo>
                        <a:pt x="278823" y="606901"/>
                        <a:pt x="278823" y="632408"/>
                        <a:pt x="278823" y="664073"/>
                      </a:cubicBezTo>
                      <a:cubicBezTo>
                        <a:pt x="311366" y="664073"/>
                        <a:pt x="346549" y="664952"/>
                        <a:pt x="365020" y="664073"/>
                      </a:cubicBezTo>
                      <a:cubicBezTo>
                        <a:pt x="365020" y="632408"/>
                        <a:pt x="365020" y="606021"/>
                        <a:pt x="365020" y="576996"/>
                      </a:cubicBezTo>
                      <a:cubicBezTo>
                        <a:pt x="335114" y="576996"/>
                        <a:pt x="306968" y="576996"/>
                        <a:pt x="278823" y="576996"/>
                      </a:cubicBezTo>
                      <a:close/>
                      <a:moveTo>
                        <a:pt x="43979" y="576996"/>
                      </a:moveTo>
                      <a:cubicBezTo>
                        <a:pt x="43979" y="605142"/>
                        <a:pt x="43979" y="638565"/>
                        <a:pt x="43979" y="664952"/>
                      </a:cubicBezTo>
                      <a:cubicBezTo>
                        <a:pt x="81799" y="664952"/>
                        <a:pt x="105548" y="664073"/>
                        <a:pt x="131935" y="665832"/>
                      </a:cubicBezTo>
                      <a:cubicBezTo>
                        <a:pt x="131935" y="631529"/>
                        <a:pt x="132814" y="602503"/>
                        <a:pt x="132814" y="576996"/>
                      </a:cubicBezTo>
                      <a:cubicBezTo>
                        <a:pt x="102030" y="576996"/>
                        <a:pt x="73884" y="576996"/>
                        <a:pt x="43979" y="576996"/>
                      </a:cubicBezTo>
                      <a:close/>
                      <a:moveTo>
                        <a:pt x="160960" y="449459"/>
                      </a:moveTo>
                      <a:cubicBezTo>
                        <a:pt x="160960" y="481123"/>
                        <a:pt x="160960" y="509268"/>
                        <a:pt x="160960" y="539174"/>
                      </a:cubicBezTo>
                      <a:cubicBezTo>
                        <a:pt x="189986" y="539174"/>
                        <a:pt x="217253" y="539174"/>
                        <a:pt x="248917" y="539174"/>
                      </a:cubicBezTo>
                      <a:cubicBezTo>
                        <a:pt x="248917" y="506630"/>
                        <a:pt x="248917" y="477604"/>
                        <a:pt x="248917" y="449459"/>
                      </a:cubicBezTo>
                      <a:cubicBezTo>
                        <a:pt x="218132" y="449459"/>
                        <a:pt x="189107" y="449459"/>
                        <a:pt x="160960" y="449459"/>
                      </a:cubicBezTo>
                      <a:close/>
                      <a:moveTo>
                        <a:pt x="44858" y="449459"/>
                      </a:moveTo>
                      <a:cubicBezTo>
                        <a:pt x="44858" y="481123"/>
                        <a:pt x="44858" y="509268"/>
                        <a:pt x="44858" y="539174"/>
                      </a:cubicBezTo>
                      <a:cubicBezTo>
                        <a:pt x="75643" y="539174"/>
                        <a:pt x="102910" y="539174"/>
                        <a:pt x="131935" y="539174"/>
                      </a:cubicBezTo>
                      <a:cubicBezTo>
                        <a:pt x="131935" y="505751"/>
                        <a:pt x="131935" y="477604"/>
                        <a:pt x="131935" y="449459"/>
                      </a:cubicBezTo>
                      <a:cubicBezTo>
                        <a:pt x="100271" y="449459"/>
                        <a:pt x="72125" y="449459"/>
                        <a:pt x="44858" y="449459"/>
                      </a:cubicBezTo>
                      <a:close/>
                      <a:moveTo>
                        <a:pt x="278823" y="448579"/>
                      </a:moveTo>
                      <a:cubicBezTo>
                        <a:pt x="278823" y="479364"/>
                        <a:pt x="278823" y="508389"/>
                        <a:pt x="278823" y="538295"/>
                      </a:cubicBezTo>
                      <a:cubicBezTo>
                        <a:pt x="308727" y="538295"/>
                        <a:pt x="335994" y="538295"/>
                        <a:pt x="365020" y="538295"/>
                      </a:cubicBezTo>
                      <a:cubicBezTo>
                        <a:pt x="365020" y="507510"/>
                        <a:pt x="365020" y="478484"/>
                        <a:pt x="365020" y="448579"/>
                      </a:cubicBezTo>
                      <a:cubicBezTo>
                        <a:pt x="335994" y="448579"/>
                        <a:pt x="308727" y="448579"/>
                        <a:pt x="278823" y="448579"/>
                      </a:cubicBezTo>
                      <a:close/>
                      <a:moveTo>
                        <a:pt x="277943" y="318403"/>
                      </a:moveTo>
                      <a:cubicBezTo>
                        <a:pt x="277943" y="350067"/>
                        <a:pt x="277943" y="379094"/>
                        <a:pt x="277943" y="408999"/>
                      </a:cubicBezTo>
                      <a:cubicBezTo>
                        <a:pt x="309607" y="408999"/>
                        <a:pt x="337753" y="408999"/>
                        <a:pt x="366779" y="408999"/>
                      </a:cubicBezTo>
                      <a:cubicBezTo>
                        <a:pt x="366779" y="378214"/>
                        <a:pt x="366779" y="349187"/>
                        <a:pt x="366779" y="318403"/>
                      </a:cubicBezTo>
                      <a:cubicBezTo>
                        <a:pt x="336873" y="318403"/>
                        <a:pt x="307848" y="318403"/>
                        <a:pt x="277943" y="318403"/>
                      </a:cubicBezTo>
                      <a:close/>
                      <a:moveTo>
                        <a:pt x="159201" y="318403"/>
                      </a:moveTo>
                      <a:cubicBezTo>
                        <a:pt x="159201" y="349187"/>
                        <a:pt x="159201" y="378214"/>
                        <a:pt x="159201" y="407239"/>
                      </a:cubicBezTo>
                      <a:cubicBezTo>
                        <a:pt x="190866" y="407239"/>
                        <a:pt x="219892" y="407239"/>
                        <a:pt x="249797" y="407239"/>
                      </a:cubicBezTo>
                      <a:cubicBezTo>
                        <a:pt x="249797" y="376454"/>
                        <a:pt x="249797" y="349187"/>
                        <a:pt x="249797" y="318403"/>
                      </a:cubicBezTo>
                      <a:cubicBezTo>
                        <a:pt x="217253" y="318403"/>
                        <a:pt x="188227" y="318403"/>
                        <a:pt x="159201" y="318403"/>
                      </a:cubicBezTo>
                      <a:close/>
                      <a:moveTo>
                        <a:pt x="43979" y="318403"/>
                      </a:moveTo>
                      <a:cubicBezTo>
                        <a:pt x="43979" y="349187"/>
                        <a:pt x="43979" y="378214"/>
                        <a:pt x="43979" y="408119"/>
                      </a:cubicBezTo>
                      <a:cubicBezTo>
                        <a:pt x="74764" y="408119"/>
                        <a:pt x="102910" y="408119"/>
                        <a:pt x="131935" y="408119"/>
                      </a:cubicBezTo>
                      <a:cubicBezTo>
                        <a:pt x="131935" y="376454"/>
                        <a:pt x="131935" y="347429"/>
                        <a:pt x="131935" y="318403"/>
                      </a:cubicBezTo>
                      <a:cubicBezTo>
                        <a:pt x="100271" y="318403"/>
                        <a:pt x="72125" y="318403"/>
                        <a:pt x="43979" y="318403"/>
                      </a:cubicBezTo>
                      <a:close/>
                      <a:moveTo>
                        <a:pt x="43098" y="187348"/>
                      </a:moveTo>
                      <a:cubicBezTo>
                        <a:pt x="43098" y="219892"/>
                        <a:pt x="43098" y="249797"/>
                        <a:pt x="43098" y="279702"/>
                      </a:cubicBezTo>
                      <a:cubicBezTo>
                        <a:pt x="74764" y="279702"/>
                        <a:pt x="104668" y="279702"/>
                        <a:pt x="132814" y="279702"/>
                      </a:cubicBezTo>
                      <a:cubicBezTo>
                        <a:pt x="132814" y="247159"/>
                        <a:pt x="132814" y="218133"/>
                        <a:pt x="132814" y="187348"/>
                      </a:cubicBezTo>
                      <a:cubicBezTo>
                        <a:pt x="102030" y="187348"/>
                        <a:pt x="73884" y="187348"/>
                        <a:pt x="43098" y="187348"/>
                      </a:cubicBezTo>
                      <a:close/>
                      <a:moveTo>
                        <a:pt x="43979" y="60690"/>
                      </a:moveTo>
                      <a:cubicBezTo>
                        <a:pt x="43979" y="93234"/>
                        <a:pt x="43979" y="122259"/>
                        <a:pt x="43979" y="152166"/>
                      </a:cubicBezTo>
                      <a:cubicBezTo>
                        <a:pt x="75643" y="152166"/>
                        <a:pt x="103789" y="152166"/>
                        <a:pt x="133694" y="152166"/>
                      </a:cubicBezTo>
                      <a:cubicBezTo>
                        <a:pt x="133694" y="121380"/>
                        <a:pt x="133694" y="93234"/>
                        <a:pt x="133694" y="60690"/>
                      </a:cubicBezTo>
                      <a:cubicBezTo>
                        <a:pt x="101151" y="60690"/>
                        <a:pt x="72125" y="60690"/>
                        <a:pt x="43979" y="60690"/>
                      </a:cubicBezTo>
                      <a:close/>
                      <a:moveTo>
                        <a:pt x="0" y="0"/>
                      </a:moveTo>
                      <a:lnTo>
                        <a:pt x="155702" y="0"/>
                      </a:lnTo>
                      <a:lnTo>
                        <a:pt x="155702" y="281913"/>
                      </a:lnTo>
                      <a:lnTo>
                        <a:pt x="277943" y="281913"/>
                      </a:lnTo>
                      <a:lnTo>
                        <a:pt x="277943" y="282341"/>
                      </a:lnTo>
                      <a:cubicBezTo>
                        <a:pt x="307848" y="282341"/>
                        <a:pt x="334235" y="282341"/>
                        <a:pt x="366779" y="282341"/>
                      </a:cubicBezTo>
                      <a:lnTo>
                        <a:pt x="366779" y="281913"/>
                      </a:lnTo>
                      <a:lnTo>
                        <a:pt x="408118" y="281913"/>
                      </a:lnTo>
                      <a:lnTo>
                        <a:pt x="408118" y="1158732"/>
                      </a:lnTo>
                      <a:lnTo>
                        <a:pt x="0" y="1158732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defTabSz="685800">
                    <a:defRPr/>
                  </a:pPr>
                  <a:endParaRPr lang="en-US" sz="1400" kern="0" dirty="0" smtClean="0">
                    <a:solidFill>
                      <a:prstClr val="black"/>
                    </a:solidFill>
                    <a:latin typeface="Arial"/>
                    <a:ea typeface="Arial Unicode M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="" xmlns:p14="http://schemas.microsoft.com/office/powerpoint/2010/main" val="110837547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533" y="362496"/>
            <a:ext cx="8980226" cy="4575409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en-IN" sz="2000" b="1" dirty="0" smtClean="0"/>
          </a:p>
          <a:p>
            <a:pPr algn="just">
              <a:lnSpc>
                <a:spcPct val="100000"/>
              </a:lnSpc>
            </a:pPr>
            <a:r>
              <a:rPr lang="en-GB" sz="2000" dirty="0" smtClean="0"/>
              <a:t>Seeks to cover </a:t>
            </a:r>
            <a:r>
              <a:rPr lang="en-GB" sz="2000" b="1" dirty="0" smtClean="0"/>
              <a:t>urban</a:t>
            </a:r>
            <a:r>
              <a:rPr lang="en-GB" sz="2000" dirty="0" smtClean="0"/>
              <a:t> and as well as </a:t>
            </a:r>
            <a:r>
              <a:rPr lang="en-GB" sz="2000" b="1" dirty="0" smtClean="0"/>
              <a:t>rural areas</a:t>
            </a:r>
            <a:endParaRPr lang="en-US" sz="2000" dirty="0" smtClean="0"/>
          </a:p>
          <a:p>
            <a:pPr lvl="0" algn="just">
              <a:lnSpc>
                <a:spcPct val="100000"/>
              </a:lnSpc>
            </a:pPr>
            <a:r>
              <a:rPr lang="en-GB" sz="2000" b="1" dirty="0" smtClean="0"/>
              <a:t>Applicable prospectively </a:t>
            </a:r>
            <a:r>
              <a:rPr lang="en-GB" sz="2000" dirty="0" smtClean="0"/>
              <a:t>&amp; will not affect existing tenancies</a:t>
            </a:r>
          </a:p>
          <a:p>
            <a:pPr algn="just">
              <a:lnSpc>
                <a:spcPct val="100000"/>
              </a:lnSpc>
            </a:pPr>
            <a:r>
              <a:rPr lang="en-GB" sz="2000" dirty="0" smtClean="0"/>
              <a:t>Mandates for </a:t>
            </a:r>
            <a:r>
              <a:rPr lang="en-GB" sz="2000" b="1" dirty="0" smtClean="0"/>
              <a:t>written agreement </a:t>
            </a:r>
            <a:r>
              <a:rPr lang="en-GB" sz="2000" dirty="0" smtClean="0"/>
              <a:t>for all new tenancies &amp; intimation to Rent Authority</a:t>
            </a:r>
            <a:endParaRPr lang="en-US" sz="2000" dirty="0" smtClean="0"/>
          </a:p>
          <a:p>
            <a:pPr lvl="0" algn="just">
              <a:lnSpc>
                <a:spcPct val="100000"/>
              </a:lnSpc>
            </a:pPr>
            <a:r>
              <a:rPr lang="en-GB" sz="2000" dirty="0" smtClean="0"/>
              <a:t>Rent and duration of tenancy to be fixed by </a:t>
            </a:r>
            <a:r>
              <a:rPr lang="en-GB" sz="2000" b="1" dirty="0" smtClean="0"/>
              <a:t>mutual consent </a:t>
            </a:r>
            <a:r>
              <a:rPr lang="en-GB" sz="2000" dirty="0" smtClean="0"/>
              <a:t>between owner and tenant through a written agreement</a:t>
            </a:r>
          </a:p>
          <a:p>
            <a:pPr lvl="0" algn="just"/>
            <a:r>
              <a:rPr lang="en-GB" sz="2000" b="1" dirty="0" smtClean="0"/>
              <a:t>3 </a:t>
            </a:r>
            <a:r>
              <a:rPr lang="en-GB" sz="2000" dirty="0" smtClean="0"/>
              <a:t>Tier adjudicatory mechanism- Rent Authority, Rent Court &amp; Rent Tribunal</a:t>
            </a:r>
          </a:p>
          <a:p>
            <a:pPr lvl="0" algn="just"/>
            <a:r>
              <a:rPr lang="en-GB" sz="2000" b="1" dirty="0" smtClean="0"/>
              <a:t>Digital platform</a:t>
            </a:r>
            <a:r>
              <a:rPr lang="en-GB" sz="2000" dirty="0" smtClean="0"/>
              <a:t> to be set up </a:t>
            </a:r>
            <a:r>
              <a:rPr lang="en-GB" sz="2000" b="1" dirty="0" smtClean="0"/>
              <a:t>for submitting tenancy agreement</a:t>
            </a:r>
            <a:r>
              <a:rPr lang="en-GB" sz="2000" dirty="0" smtClean="0"/>
              <a:t> &amp; other documents</a:t>
            </a:r>
            <a:endParaRPr lang="en-GB" sz="2000" b="1" i="1" dirty="0" smtClean="0"/>
          </a:p>
          <a:p>
            <a:pPr lvl="0" algn="just"/>
            <a:r>
              <a:rPr lang="en-GB" sz="2000" b="1" dirty="0" smtClean="0"/>
              <a:t>Subletting</a:t>
            </a:r>
            <a:r>
              <a:rPr lang="en-GB" sz="2000" dirty="0" smtClean="0"/>
              <a:t> only </a:t>
            </a:r>
            <a:r>
              <a:rPr lang="en-GB" sz="2000" b="1" dirty="0" smtClean="0"/>
              <a:t>with prior consent of landlord </a:t>
            </a:r>
          </a:p>
          <a:p>
            <a:pPr algn="just"/>
            <a:r>
              <a:rPr lang="en-GB" sz="2000" b="1" dirty="0" smtClean="0"/>
              <a:t>No monetary ceiling- </a:t>
            </a:r>
            <a:r>
              <a:rPr lang="en-GB" sz="2000" dirty="0" smtClean="0"/>
              <a:t>enables parties to negotiate &amp; execute agreement on mutually agreed terms</a:t>
            </a:r>
            <a:endParaRPr lang="en-GB" sz="2000" b="1" i="1" dirty="0" smtClean="0"/>
          </a:p>
          <a:p>
            <a:pPr lvl="0" algn="just">
              <a:lnSpc>
                <a:spcPct val="100000"/>
              </a:lnSpc>
            </a:pPr>
            <a:endParaRPr lang="en-US" sz="2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32266" y="136480"/>
            <a:ext cx="7301552" cy="429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72504" algn="r">
              <a:defRPr sz="3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algn="ctr"/>
            <a:r>
              <a:rPr lang="en-I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TA: Key Features</a:t>
            </a:r>
            <a:endParaRPr lang="en-IN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64337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96" y="485328"/>
            <a:ext cx="8911987" cy="4575409"/>
          </a:xfrm>
        </p:spPr>
        <p:txBody>
          <a:bodyPr>
            <a:noAutofit/>
          </a:bodyPr>
          <a:lstStyle/>
          <a:p>
            <a:pPr lvl="0" algn="just"/>
            <a:endParaRPr lang="en-GB" sz="1900" dirty="0" smtClean="0"/>
          </a:p>
          <a:p>
            <a:pPr lvl="0" algn="just"/>
            <a:r>
              <a:rPr lang="en-GB" sz="1900" b="1" dirty="0" smtClean="0"/>
              <a:t>Security deposit</a:t>
            </a:r>
            <a:r>
              <a:rPr lang="en-GB" sz="1900" dirty="0" smtClean="0"/>
              <a:t> equal to a maximum of 2 month’s rent in case of residential premises and maximum of 6 month’s rent in case of non-residential premises </a:t>
            </a:r>
          </a:p>
          <a:p>
            <a:pPr lvl="0" algn="just"/>
            <a:r>
              <a:rPr lang="en-GB" sz="1900" dirty="0" smtClean="0"/>
              <a:t>Roles &amp; responsibilities of landlord &amp; tenant clearly defined- </a:t>
            </a:r>
            <a:r>
              <a:rPr lang="en-GB" sz="1900" b="1" dirty="0" smtClean="0"/>
              <a:t>dispute</a:t>
            </a:r>
            <a:r>
              <a:rPr lang="en-GB" sz="1900" dirty="0" smtClean="0"/>
              <a:t> </a:t>
            </a:r>
            <a:r>
              <a:rPr lang="en-GB" sz="1900" b="1" dirty="0" smtClean="0"/>
              <a:t>reduction</a:t>
            </a:r>
            <a:endParaRPr lang="en-GB" sz="1900" b="1" i="1" dirty="0" smtClean="0"/>
          </a:p>
          <a:p>
            <a:pPr algn="just"/>
            <a:r>
              <a:rPr lang="en-IN" sz="1900" dirty="0" smtClean="0"/>
              <a:t>Landlord / Property Manager </a:t>
            </a:r>
            <a:r>
              <a:rPr lang="en-IN" sz="1900" b="1" dirty="0" smtClean="0"/>
              <a:t>not to withhold Essential Supplies/ Services </a:t>
            </a:r>
          </a:p>
          <a:p>
            <a:pPr algn="just"/>
            <a:r>
              <a:rPr lang="en-IN" sz="1900" b="1" dirty="0" smtClean="0"/>
              <a:t>N</a:t>
            </a:r>
            <a:r>
              <a:rPr lang="en-GB" sz="1900" b="1" dirty="0" smtClean="0"/>
              <a:t>o eviction of tenant during currency of tenancy period </a:t>
            </a:r>
            <a:r>
              <a:rPr lang="en-GB" sz="1900" dirty="0" smtClean="0"/>
              <a:t>except in accordance with provisions of the Act</a:t>
            </a:r>
            <a:endParaRPr lang="en-GB" sz="1800" b="1" i="1" dirty="0" smtClean="0"/>
          </a:p>
          <a:p>
            <a:pPr lvl="0" algn="just"/>
            <a:r>
              <a:rPr lang="en-IN" sz="1900" dirty="0" smtClean="0"/>
              <a:t>Tenant to pay </a:t>
            </a:r>
            <a:r>
              <a:rPr lang="en-IN" sz="1900" b="1" dirty="0" smtClean="0"/>
              <a:t>enhanced rent in case of non-vacancy </a:t>
            </a:r>
            <a:r>
              <a:rPr lang="en-IN" sz="1900" dirty="0" smtClean="0"/>
              <a:t>post termination of tenancy: double the monthly rent for first 2 months and 4 times</a:t>
            </a:r>
            <a:r>
              <a:rPr lang="en-IN" sz="2000" dirty="0" smtClean="0"/>
              <a:t> thereafter</a:t>
            </a:r>
          </a:p>
          <a:p>
            <a:pPr lvl="0" algn="just"/>
            <a:r>
              <a:rPr lang="en-GB" sz="1800" b="1" dirty="0" smtClean="0"/>
              <a:t>No structural change</a:t>
            </a:r>
            <a:r>
              <a:rPr lang="en-GB" sz="1800" dirty="0" smtClean="0"/>
              <a:t> in premises by tenant </a:t>
            </a:r>
            <a:r>
              <a:rPr lang="en-GB" sz="1800" b="1" dirty="0" smtClean="0"/>
              <a:t>without written consent</a:t>
            </a:r>
            <a:r>
              <a:rPr lang="en-GB" sz="1800" dirty="0" smtClean="0"/>
              <a:t> </a:t>
            </a:r>
            <a:r>
              <a:rPr lang="en-GB" sz="1800" b="1" dirty="0" smtClean="0"/>
              <a:t>of landlord</a:t>
            </a:r>
          </a:p>
          <a:p>
            <a:pPr lvl="0" algn="just"/>
            <a:r>
              <a:rPr lang="en-GB" sz="1800" b="1" dirty="0" smtClean="0"/>
              <a:t>Time bound &amp; robust grievance </a:t>
            </a:r>
            <a:r>
              <a:rPr lang="en-GB" sz="1800" b="1" dirty="0" err="1" smtClean="0"/>
              <a:t>redressal</a:t>
            </a:r>
            <a:r>
              <a:rPr lang="en-GB" sz="1800" b="1" dirty="0" smtClean="0"/>
              <a:t> mechanism </a:t>
            </a:r>
            <a:r>
              <a:rPr lang="en-GB" sz="1800" dirty="0" smtClean="0"/>
              <a:t>comprising of Rent Authority, Rent Court &amp; Rent Tribunal</a:t>
            </a:r>
          </a:p>
          <a:p>
            <a:pPr algn="just"/>
            <a:r>
              <a:rPr lang="en-GB" sz="1800" dirty="0" smtClean="0"/>
              <a:t>Jurisdiction of civil courts barred</a:t>
            </a:r>
            <a:endParaRPr lang="en-GB" sz="100" b="1" dirty="0" smtClean="0"/>
          </a:p>
          <a:p>
            <a:pPr lvl="0" algn="just">
              <a:buNone/>
            </a:pPr>
            <a:endParaRPr lang="en-US" sz="1800" dirty="0" smtClean="0"/>
          </a:p>
          <a:p>
            <a:pPr algn="just"/>
            <a:endParaRPr lang="en-GB" sz="1900" dirty="0" smtClean="0"/>
          </a:p>
          <a:p>
            <a:pPr algn="just"/>
            <a:endParaRPr lang="en-GB" sz="1900" b="1" i="1" dirty="0" smtClean="0"/>
          </a:p>
          <a:p>
            <a:pPr algn="just">
              <a:buNone/>
            </a:pPr>
            <a:endParaRPr lang="en-US" sz="19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32266" y="136480"/>
            <a:ext cx="7301552" cy="429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72504" algn="r">
              <a:defRPr sz="3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algn="ctr"/>
            <a:r>
              <a:rPr lang="en-I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TA: Key Features</a:t>
            </a:r>
            <a:endParaRPr lang="en-IN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64337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1419369" y="106579"/>
            <a:ext cx="7301552" cy="429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>
            <a:defPPr>
              <a:defRPr lang="en-US"/>
            </a:defPPr>
            <a:lvl1pPr marL="72504" algn="r">
              <a:defRPr sz="3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algn="ctr"/>
            <a:r>
              <a:rPr lang="en-I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TA: Implementation Progress</a:t>
            </a:r>
            <a:endParaRPr lang="en-IN" sz="24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19229" y="19229"/>
            <a:ext cx="1454921" cy="603186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53331" y="788299"/>
            <a:ext cx="4368544" cy="3271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DEB109A3-A9AD-452A-90B6-AC8DE2620DA1}" type="slidenum">
              <a:rPr lang="en-US" sz="9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685800">
                <a:defRPr/>
              </a:pPr>
              <a:t>9</a:t>
            </a:fld>
            <a:endParaRPr lang="en-US" sz="9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698543" y="968992"/>
            <a:ext cx="5104264" cy="3893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0850" lvl="0" indent="-450850" algn="just">
              <a:buFont typeface="Wingdings" pitchFamily="2" charset="2"/>
              <a:buChar char="q"/>
            </a:pPr>
            <a:r>
              <a:rPr lang="en-IN" sz="2400" b="1" dirty="0" smtClean="0"/>
              <a:t>Already implemented- </a:t>
            </a:r>
            <a:r>
              <a:rPr lang="en-IN" sz="2400" dirty="0" smtClean="0"/>
              <a:t>Andhra Pradesh, Tamil Nadu &amp; Uttar Pradesh</a:t>
            </a:r>
          </a:p>
          <a:p>
            <a:pPr marL="450850" lvl="0" indent="-450850" algn="just">
              <a:buFont typeface="Wingdings" pitchFamily="2" charset="2"/>
              <a:buChar char="q"/>
            </a:pPr>
            <a:endParaRPr lang="en-IN" sz="2400" dirty="0" smtClean="0"/>
          </a:p>
          <a:p>
            <a:pPr marL="450850" lvl="0" indent="-450850">
              <a:buFont typeface="Wingdings" pitchFamily="2" charset="2"/>
              <a:buChar char="q"/>
            </a:pPr>
            <a:r>
              <a:rPr lang="en-IN" sz="2400" b="1" dirty="0" smtClean="0"/>
              <a:t>Draft Rules </a:t>
            </a:r>
            <a:r>
              <a:rPr lang="en-IN" sz="2400" dirty="0" smtClean="0"/>
              <a:t>being prepared – will be circulated soon</a:t>
            </a:r>
          </a:p>
          <a:p>
            <a:pPr marL="450850" lvl="0" indent="-450850">
              <a:buFont typeface="Wingdings" pitchFamily="2" charset="2"/>
              <a:buChar char="q"/>
            </a:pPr>
            <a:endParaRPr lang="en-IN" sz="2400" b="1" dirty="0" smtClean="0">
              <a:solidFill>
                <a:prstClr val="black"/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450850" lvl="0" indent="-450850" algn="just">
              <a:buFont typeface="Wingdings" pitchFamily="2" charset="2"/>
              <a:buChar char="q"/>
            </a:pPr>
            <a:r>
              <a:rPr lang="en-IN" sz="2000" b="1" dirty="0" smtClean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tandardized </a:t>
            </a:r>
            <a:r>
              <a:rPr lang="en-US" sz="2000" b="1" dirty="0" smtClean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Digital Platform </a:t>
            </a:r>
            <a:r>
              <a:rPr lang="en-IN" sz="2000" dirty="0" smtClean="0">
                <a:solidFill>
                  <a:prstClr val="black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being developed for compliance &amp; effective implementation</a:t>
            </a:r>
            <a:r>
              <a:rPr lang="en-IN" sz="2400" dirty="0" smtClean="0"/>
              <a:t> – will be shared soon</a:t>
            </a:r>
            <a:endParaRPr lang="en-US" sz="2400" dirty="0" smtClean="0"/>
          </a:p>
          <a:p>
            <a:endParaRPr lang="en-US" dirty="0"/>
          </a:p>
        </p:txBody>
      </p:sp>
      <p:pic>
        <p:nvPicPr>
          <p:cNvPr id="6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282894"/>
            <a:ext cx="3616657" cy="30843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="" xmlns:p14="http://schemas.microsoft.com/office/powerpoint/2010/main" val="2512343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NZA0O7QtCf.ry0IADAl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654</TotalTime>
  <Words>1055</Words>
  <Application>Microsoft Office PowerPoint</Application>
  <PresentationFormat>On-screen Show (16:9)</PresentationFormat>
  <Paragraphs>192</Paragraphs>
  <Slides>11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</vt:vector>
  </TitlesOfParts>
  <Company>E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 Tenancy Act</dc:title>
  <dc:creator>Brijesh Kumar</dc:creator>
  <cp:lastModifiedBy>Nupur</cp:lastModifiedBy>
  <cp:revision>713</cp:revision>
  <cp:lastPrinted>2019-08-07T11:30:13Z</cp:lastPrinted>
  <dcterms:created xsi:type="dcterms:W3CDTF">2019-08-07T10:00:08Z</dcterms:created>
  <dcterms:modified xsi:type="dcterms:W3CDTF">2021-07-28T06:5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₹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19-08-07T06:16:13Z</vt:filetime>
  </property>
</Properties>
</file>